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</p:sldMasterIdLst>
  <p:notesMasterIdLst>
    <p:notesMasterId r:id="rId10"/>
  </p:notesMasterIdLst>
  <p:handoutMasterIdLst>
    <p:handoutMasterId r:id="rId11"/>
  </p:handoutMasterIdLst>
  <p:sldIdLst>
    <p:sldId id="570" r:id="rId2"/>
    <p:sldId id="582" r:id="rId3"/>
    <p:sldId id="574" r:id="rId4"/>
    <p:sldId id="580" r:id="rId5"/>
    <p:sldId id="583" r:id="rId6"/>
    <p:sldId id="581" r:id="rId7"/>
    <p:sldId id="584" r:id="rId8"/>
    <p:sldId id="569" r:id="rId9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iane" initials="O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06" autoAdjust="0"/>
    <p:restoredTop sz="94600" autoAdjust="0"/>
  </p:normalViewPr>
  <p:slideViewPr>
    <p:cSldViewPr>
      <p:cViewPr varScale="1">
        <p:scale>
          <a:sx n="106" d="100"/>
          <a:sy n="106" d="100"/>
        </p:scale>
        <p:origin x="1740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478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9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013025-ED85-614E-A9E1-17DB4C8F5B4E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8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8D53F0-DC59-B447-BF9E-09443B6408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33985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64343-33AD-4B2C-9111-771D9D38C20D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8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B4BB5D-5D2C-43F4-815B-7A4C5114735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4420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1875" y="730250"/>
            <a:ext cx="4879975" cy="36607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5140">
              <a:defRPr/>
            </a:pPr>
            <a:endParaRPr lang="en-US" sz="1100" dirty="0"/>
          </a:p>
          <a:p>
            <a:pPr defTabSz="945140">
              <a:defRPr/>
            </a:pPr>
            <a:endParaRPr lang="en-US" sz="11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408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122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1875" y="730250"/>
            <a:ext cx="4879975" cy="36607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086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0339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051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35825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/>
          <a:lstStyle/>
          <a:p>
            <a:fld id="{F80947A9-521A-4AFE-8C3B-59BE50CEA4DD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60" r:id="rId11"/>
    <p:sldLayoutId id="2147483694" r:id="rId12"/>
    <p:sldLayoutId id="2147483697" r:id="rId1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hyperlink" Target="http://www.twitter.com/mekkographics" TargetMode="External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hyperlink" Target="https://www.linkedin.com/company/46841?trk=tyah&amp;trkInfo=clickedVertical:company,clickedEntityId:46841,idx:3-2-4,tarId:1453312077858,tas:mekko" TargetMode="External"/><Relationship Id="rId4" Type="http://schemas.openxmlformats.org/officeDocument/2006/relationships/image" Target="../media/image13.png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800" dirty="0"/>
              <a:t>Using </a:t>
            </a:r>
            <a:r>
              <a:rPr lang="en-US" sz="4800" dirty="0" err="1"/>
              <a:t>mekko</a:t>
            </a:r>
            <a:r>
              <a:rPr lang="en-US" sz="4800" dirty="0"/>
              <a:t> graphics with excel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avid Goldstein</a:t>
            </a:r>
          </a:p>
          <a:p>
            <a:r>
              <a:rPr lang="en-US" dirty="0"/>
              <a:t>President, Mekko Graphics</a:t>
            </a:r>
          </a:p>
        </p:txBody>
      </p:sp>
    </p:spTree>
    <p:extLst>
      <p:ext uri="{BB962C8B-B14F-4D97-AF65-F5344CB8AC3E}">
        <p14:creationId xmlns:p14="http://schemas.microsoft.com/office/powerpoint/2010/main" val="1276132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Productivity Example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19897" y="2038695"/>
            <a:ext cx="2099501" cy="748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werPoint</a:t>
            </a:r>
          </a:p>
          <a:p>
            <a:pPr algn="ctr"/>
            <a:r>
              <a:rPr lang="en-US" sz="1800" dirty="0"/>
              <a:t>Dashboar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310697" y="2038695"/>
            <a:ext cx="2175701" cy="748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Using </a:t>
            </a:r>
            <a:r>
              <a:rPr lang="en-US" dirty="0" smtClean="0"/>
              <a:t>PivotTables</a:t>
            </a:r>
            <a:endParaRPr lang="en-US" sz="1800" dirty="0"/>
          </a:p>
        </p:txBody>
      </p:sp>
      <p:sp>
        <p:nvSpPr>
          <p:cNvPr id="17" name="Rectangle 16"/>
          <p:cNvSpPr/>
          <p:nvPr/>
        </p:nvSpPr>
        <p:spPr>
          <a:xfrm>
            <a:off x="5901497" y="2038695"/>
            <a:ext cx="2175701" cy="748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/>
              <a:t>Charts in Reporting Package</a:t>
            </a:r>
          </a:p>
        </p:txBody>
      </p:sp>
      <p:sp>
        <p:nvSpPr>
          <p:cNvPr id="18" name="Text Box 4"/>
          <p:cNvSpPr txBox="1">
            <a:spLocks noChangeArrowheads="1"/>
          </p:cNvSpPr>
          <p:nvPr/>
        </p:nvSpPr>
        <p:spPr bwMode="auto">
          <a:xfrm>
            <a:off x="685801" y="2868573"/>
            <a:ext cx="2133598" cy="2406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</a:rPr>
              <a:t>Apple Example</a:t>
            </a:r>
          </a:p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</a:rPr>
              <a:t>Connect an existing dashboard to Excel to simplify update </a:t>
            </a:r>
            <a:r>
              <a:rPr lang="en-US" altLang="en-US" sz="1600" dirty="0" smtClean="0">
                <a:solidFill>
                  <a:schemeClr val="tx1"/>
                </a:solidFill>
                <a:latin typeface="Gill Sans MT" panose="020B0502020104020203" pitchFamily="34" charset="0"/>
              </a:rPr>
              <a:t>process</a:t>
            </a:r>
          </a:p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600" dirty="0" smtClean="0">
                <a:solidFill>
                  <a:schemeClr val="tx1"/>
                </a:solidFill>
                <a:latin typeface="Gill Sans MT" panose="020B0502020104020203" pitchFamily="34" charset="0"/>
              </a:rPr>
              <a:t>Create a new dashboard chart in PowerPoint from data in Excel</a:t>
            </a:r>
            <a:endParaRPr lang="en-US" altLang="en-US" sz="1600" dirty="0">
              <a:solidFill>
                <a:schemeClr val="tx1"/>
              </a:solidFill>
              <a:latin typeface="Gill Sans MT" panose="020B0502020104020203" pitchFamily="34" charset="0"/>
            </a:endParaRPr>
          </a:p>
        </p:txBody>
      </p:sp>
      <p:sp>
        <p:nvSpPr>
          <p:cNvPr id="11" name="Text Box 4"/>
          <p:cNvSpPr txBox="1">
            <a:spLocks noChangeArrowheads="1"/>
          </p:cNvSpPr>
          <p:nvPr/>
        </p:nvSpPr>
        <p:spPr bwMode="auto">
          <a:xfrm>
            <a:off x="3352800" y="2876895"/>
            <a:ext cx="2133598" cy="1618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600" dirty="0" err="1">
                <a:solidFill>
                  <a:schemeClr val="tx1"/>
                </a:solidFill>
                <a:latin typeface="Gill Sans MT" panose="020B0502020104020203" pitchFamily="34" charset="0"/>
              </a:rPr>
              <a:t>Marimekko</a:t>
            </a: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</a:rPr>
              <a:t> Example</a:t>
            </a:r>
          </a:p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</a:rPr>
              <a:t>Use a </a:t>
            </a:r>
            <a:r>
              <a:rPr lang="en-US" altLang="en-US" sz="1600" dirty="0" smtClean="0">
                <a:solidFill>
                  <a:schemeClr val="tx1"/>
                </a:solidFill>
                <a:latin typeface="Gill Sans MT" panose="020B0502020104020203" pitchFamily="34" charset="0"/>
              </a:rPr>
              <a:t>PivotTable to </a:t>
            </a: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</a:rPr>
              <a:t>make it easier to create a </a:t>
            </a:r>
            <a:r>
              <a:rPr lang="en-US" altLang="en-US" sz="1600" dirty="0" err="1">
                <a:solidFill>
                  <a:schemeClr val="tx1"/>
                </a:solidFill>
                <a:latin typeface="Gill Sans MT" panose="020B0502020104020203" pitchFamily="34" charset="0"/>
              </a:rPr>
              <a:t>marimekko</a:t>
            </a: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</a:rPr>
              <a:t> </a:t>
            </a:r>
            <a:r>
              <a:rPr lang="en-US" altLang="en-US" sz="1600" dirty="0" smtClean="0">
                <a:solidFill>
                  <a:schemeClr val="tx1"/>
                </a:solidFill>
                <a:latin typeface="Gill Sans MT" panose="020B0502020104020203" pitchFamily="34" charset="0"/>
              </a:rPr>
              <a:t>chart in Excel or PowerPoint</a:t>
            </a:r>
            <a:endParaRPr lang="en-US" altLang="en-US" sz="1600" dirty="0">
              <a:solidFill>
                <a:schemeClr val="tx1"/>
              </a:solidFill>
              <a:latin typeface="Gill Sans MT" panose="020B0502020104020203" pitchFamily="34" charset="0"/>
            </a:endParaRPr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5943602" y="2876895"/>
            <a:ext cx="2133598" cy="1618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</a:rPr>
              <a:t>Microsoft Example</a:t>
            </a:r>
          </a:p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</a:rPr>
              <a:t>Add </a:t>
            </a:r>
            <a:r>
              <a:rPr lang="en-US" altLang="en-US" sz="1600" dirty="0" err="1">
                <a:solidFill>
                  <a:schemeClr val="tx1"/>
                </a:solidFill>
                <a:latin typeface="Gill Sans MT" panose="020B0502020104020203" pitchFamily="34" charset="0"/>
              </a:rPr>
              <a:t>Mekko</a:t>
            </a: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</a:rPr>
              <a:t> Graphics chart to Excel spreadsheet used for financial analysis and reporting</a:t>
            </a:r>
          </a:p>
        </p:txBody>
      </p:sp>
    </p:spTree>
    <p:extLst>
      <p:ext uri="{BB962C8B-B14F-4D97-AF65-F5344CB8AC3E}">
        <p14:creationId xmlns:p14="http://schemas.microsoft.com/office/powerpoint/2010/main" val="1962713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pple Dashboard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00" y="1447800"/>
            <a:ext cx="3251200" cy="24384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1409700"/>
            <a:ext cx="3124200" cy="23431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3081" y="1352550"/>
            <a:ext cx="3276600" cy="24574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00" y="3886200"/>
            <a:ext cx="3251200" cy="24384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3886200"/>
            <a:ext cx="3135824" cy="235186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681" y="3886200"/>
            <a:ext cx="30480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344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e Revenue Trend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Revenue growth was negative for the first time in Q2 2016.</a:t>
            </a:r>
          </a:p>
        </p:txBody>
      </p:sp>
      <p:sp>
        <p:nvSpPr>
          <p:cNvPr id="7" name="Rectangle 6" descr="Enter Chart Description Here:&#10;&#10; End of Chart Description&#10;DO NOT ALTER TEXT BELOW THIS POINT! IF YOU DO YOUR CHART WILL NOT BE EDITABLE!&#10;mkkoexcel__C:\Users\david\Desktop\Apple Data.xlsx~~zzMG_Chart8~~a585b766-9eb5-46cc-95d5-c5f7ad2446fc~~635997033944984778~~='Quarterly Summary'!$A$3:$Q$4~~False~~False~~Falsemkko__4HooU0THZk28POP9trq+pbTvvzd/gcV8t56cq85kb3NDTsUhojRA0EsgEHHMH7oYP1SYpn09ysXVivguJdhTvfyVMsBLTGvcX7WPTor/CmXaNv5MOTLr3zs9jTduarTUJxj5lK9t5LYQSxiAEkvQ0YFcykJe19MrSxslyHq+8+WzF2cDK4mdk4R56pG19+XP4ifBkgkBb0BK041XNKnTJOYBNgBshUCL1jmO83UOSFasugEKX3Tcayg4TOxrZQ7qI9aATkEewN2WHLnGqPkHGnQa0QFyTmyiws8nvWJm6uKKVvZ53UNAgwPssvS6XyV0SFQ3XI36BdTLcLCuMjJy5RVlDIH89T4jXaDkHq/oH3LDPrhHl9SCrEP7TwVA2wdJfQEoCTyURwdg9GAPaS/9D2wzcMTLgEmI5eztBvkpt5/UbaoPRdsZxWSvtm5vm/znQ8YhoQ6hfQKW56QthMMVCVRTRbCPuCrNYscplx/WBhOu4VS0i3QKUWHz6i7gxbj9EQcD3G+em4IZp7nIc/KkH/s4Dbz6k00iDPeGvlFtt+6gJQKbCVMQJ+EyqhxNSat5/7jovObFIfWUTPSJRCCoMRPwA9trrPDV7ZoY7glfV0M+4rqE/elK2CtsmNvGnJMxbWPBvSJKwvuqNJ+cOgH1YJTLHpmL3s83vsFEBSNe7GxaqHR793nM8sMy3x6lQwZfOP0c+6z02CCn9i5iTl3Iiw0eST18YZXWUe9gNLd5p8U8vtOhREm8WZugIGidRTPDqDwoFBgkVXVHM8CffGrml/zQXxPwmLmwHWFKDgT0ddCtjrGT0Vppakv5A/sEZqMetJlVBneO8Os+6zkT4ODCMxwPQZNo0gCLBvokfNLKGKItmxhAFpX4lyPWyLZC+1iUL5pQOJJXwXzJATNnnmm8YI0sZmDYQ9RCM5BwY+/3H6ch4wT1GjmkIo5FrFQyZ5CVUQ2Cw+NshjiUZcCw2dCDL5REOlER07XCL2UA/Cb0MxN6f4HcKNrzHXBa8D5eE0KJZ3tHcfj4Ej8RTKVUS2HZPjrQk8nPRvnyCLvrxAmXZHUzT+NPKjM1vQvX9q7vZtHRSfu5rJOUVhhNgCRKRfSoWnL8vWlZOtSUL80V3ughEsP5Y1V+dnx0v/I3Mhs3KCf6swSpXd8U+R4CrrFZ5v7QlI/tD/dMtAYfu6GzgBRypeJFsaJ/7GGD0JNYbgxyRrSVmny79Oj5YvQHzc6QzpIHdAUsfLjCbsr9B44jXWgbiV8hsEIn1nIolAInpyVJgJoVpdKoKF8zteTNZ2y50CEgD0vndLpOGqWi88Ble9T2vpHs5ZR5Cmau+4iJKHs3jbdQNyuXQin1CcjiYFhu7tkR53577KxrqEfsr9WlaZqQ8t6yLlVSQ4BWEb2nvt3ZnEpu9W0pbCU+62zvfgUf7B2zTSb1MN+XQlZh3Jp/XONHjqEySVtkl6a7Pd/fQa/O7P2EG9zNRmG1hvd+D3y4Cl9CDOamKh/vJ4MtZn/KDRnoQsJyJ/iFUXjWAF72a05PdQY0ZqM5fHuHWfb2tSPzLyvHLoGrJOqPS3/1aWSbyKQVd3Sp1L0Cnn0CXSh4Rse5xYJWL2vzFaKKeqijkak8IqhFajwTgJgL01rwMwDnVrqV4nqR8y7kBP1GjrErO20S3CUSkcsYfLj5FD1uGBlSiu9MOyHJVdmgOwnxwaR1xq2/lfbHK95ooN1V5qWU8BLN3VP5fIFQVNBjCqiqvVUUmKyRTDC1BsCZXN7ywZGwWf6OSBtgrroNEyeMoj42LtykHaGMXppoEzwQJEz45w0Qw9902rDBx9KaiaPIXzyd0jmfoX3AfuKTotRzGk0gZtgAGyVxNSECaYNObYUEMHVo0AJRWzIccSCVLCcx1howD91R15oD5I4X2d4HSCq0keoBc9qmxBxzfegHVnEuCtTqWqp3OcyZqje2J0YeycqoqdgzuPUJSc9In/vRDRCclwpJQwXgUFoPW9EeEA1Z895ENBep6ScsTbJoTaLi3Rdjfgcv9iBi+UtpBdZbYxBC3Q4zrtfHZn/AOsnpQW3I7o+gcUcsEUg2+SYVtLwUdLsHlacWcMFsw/+SDcDK5e68A8U8BYPtvRcpVjmlSvqo67E5pMBKuAZRNgM6gHP3C8fPzaNrIYmPx3eDuivVHh5//Es4CsU3rZFFFppoD44o9C14uzEZ4lZ/5mbuhI17oN+YIIVA/1+EZ82N9+NkTXLoL3zxgmb7yCGwP3zAw59QfcemEQOuPAaQEYyxikGqX+W9kdc3wvH0KgT7cYAezh5T1ayx0PADweDXA8+5Fp7m87ih11+opWXKZ8MPmd1wgYbOsxox0eL+UvbZ6lUbeJv6PexcNql9NADQ1sy4ToOBjmdHJKd8zZEbwodMBiV3FO5YgasSLkWw7GJZaxsnMGbL9MOOyF62vWNlxLzeoqhxD9lfKU8WXyyeVd49PTSe3LUNwmWzK6F+7hjkwKk6hH9n6ZJtMvN8xw3YhAuImLspHxK15raoffSO6q74Lg3taLoNjhMIOFUQcLZc2TwXMMRZY6zDNOonmVo0AHVEn4zb9yLqxBBGBQPydGo59zAd8pLejiQ6ZnIS1qXCjTjqf4vIpFp1Ss2zCwbEfjldVKeYEPDyOXgr7MHKbhZVtBO6jUHdkeHPfqlFtvY9qQG1/el0vvpK26a+OydzDovtuWCaQ826pl9pXo273hBgdJh/RB9PfEa7EGH8q0FtFZFIc7kKeZdzNvwIv2+LZdjgw1YkpsJszqAZ2b0hn27oeCBpOkieDxpoJT+f+ebzgcAtTtWhBzOFY7Gix0JAL2daU2j/4e6sr6HmNa/rXyGXlrApUgNjKWMDzzttHud2MMNYF/iWxkPzlCNTd4D2XBo4HoEFRXTsJq5SehyPDTYGKhWnFffRVoiA/7pCUhiGqu3fU/VwaNH34DL3wC3SvkuNbMuEXhx6l2VLNhIFh3epCZFC369tQZrfe+g6KaWemJvUJF+ogx/7Uzm1MWDWbu+dYuv4hr8YiwR+JlJIKsGLg4dQyAIWL7XEMTH07NMjWGYnb9WMh9KtPOB8AXMwj91F1Y6qS6ic8OokuGDkaoYLmfEzAtbYCPvHYfzgzJEjCH/sov8zQZ87GlJnptALCMze3H/6zQDbt1IGOOZOsIRC+Sn5PbfzaSp2kdM9hC+O6ckIhywsEHVTxZft0OZxhsRMs3zFMBy801tqw5zxKqxjoS4/ztFLdr/VAJ92GIH7KKjebVFZgMIT/fOCscXwrsLlfWE9Y54xZR21zFkRMQc4t+srwjsXCj9NQlbfA/8747uJS/3T73OSvUlLZjmd9S+QhlGUFK0IlzJlnlGqsQjT3kkoTMdLYtlgvc81xPrcRqPLgysXVq5J1aDErJ9m/taw5pw0CGRLBP29BrhPXO6tvvWStsX7MqjM+qmKqR2M7VmCD4Vqc9Xydr0mrYAXqFdbzxz4ZoK1VY6+JrBZqrMw3Iv3B77diLQu9EAPeh3VNUcIMWyu2lwmrEMXHtJU3mOJaLwvvgoKi70y4EfTN8mUVgIDwWjKCEY4l23zt7fU0D7dNcFJDBp73h+Ahp/i6rub3bFX5wpHHJdHNxX+8NhJ+RqCjPx7z/JUOhbGS00cv0E6iLys/q7RdTReJWAR5uQRo92W17KoqwepiaXBzaPCJv7WKnoaaxbjpgDnJBNelCWLJdlN5fn6mbDd87L0FZq7MyUJgpaSiZJNPhQCRqGMmqrrI31wYyTPLl3unwn0TjmexdNzeKl9e7KW7yBfgPC0RsoFkZyaGVpZeAjRqrJbu2QSKaMbqxDLjBaqWa4Ge3b2NFzohAuboYW24ba+FiUNy3BaF6xnSgNDr+8a4InnrZVEZ8LUsFln3ojAmawtincnWB5GYArPZEbd4yC4wj04mIGg6PEM+Sv/9KtV6diuRPHLsH80h8HHbs567fcOBY24Jl/1V+8QQyvinFdxE4JQouzVkVG/9QbANOcaVCTpp42nF+o1Xyh/jFCDBJPH4EfWvxhaootWSreQc/4wZ+GaAFBgcU87uVhZhxsdhUQ9pDs0DkwlO/59WJzHIkvuzvVX/XyY7TcShMTNrItgG4FQHztR/pJJvhsRTs0vYzW+DFFVb/Q7iKgg2fANYkAFIdLz0W5AXJD12cAIMsjZOlyIBFdZZQdcRuX2OupF2xM6t6KWY9MXd483NS6EFO0UmZ3Ihfy3UkuzGZWpZlH8YHewty29rp/xXEJjvk6qgcH+olRfoaLf+IWQubZ6lA4p/DTYEe6IqXHCjYouDFEqU4HqsJf/CDrq7VtWZUGO7veDocpRpq0jsg5wzZ3iYbHDEkC3UwWoqXEQmkMaaZv6nSdhWMvWzKbncc3z1qUarsFN9b8+H7R5/MfAYwfgHRC6xuGIGP1CmcMDMjW1SS/j0RRyU4zENH2q6ujR1+vKs7FE92VSZ/vbrBeQjaI2cLvVnxhYEQNwJeEgJSA9XZtH6RR4u04Ty6G2xYs7xm3/m8CAVtr4RVxGHnT3DqkDYwuPHgJzC1NQWyyYafhR5HgA8JEoFdTRIvIFLL5txBYiY3DRdTnk+RPP21EgCeNgFZ1wO1K7sQhfQRLhqIVIM2IeAcra/d5pgY7Ze8q4mSC2ESSmUA8PI+8xUnK2y7xWV7GLTlQStHRTjqVOfMvfOexT+sFIfu+31HVk8vhsITm7USKNnlNOZiFUDNNSJxKjuH0dZV5SnG2Rk75h1OUv9TQLIfOd1e5N7TVry6I4m0ScNv08u/Pg4fuX5uwbngdlTLgs8IUVpGGWUnB3pczWp3gS5tjrgAPbIascPJcDJSZ6zvMEl+HKT77iEwt/eRdrSFqjfRN5VPx00W4IZ3dd55E1taZmvbex9NGdOJwh3pkcw26pQQ+ZkvnuPQCXpwH1tUYxYdYAL7hhATd3cuRp3mVS2UgUgRHwht/TRd5m4sv+la6+HdSe2mIy/235ZeKJrGPud+v3EO5sQwu3Yrwh0NssQ6JzB5PKssAp0CRNHDmXEjfY5WZHFYl8DmsjQTmHxFR3alhYJTLd4gIvuN1qNeCjIe3ExMJFcFPJXsoWl5OOwGCak9jOf+qSBaHocEqaVFiGEsFhzOA1QIPnJ66paAnpuBzjgn6hkAaPilLX+pEkznk5QzRf2C81xpDrs/zwk97l8p63QjTziMtCExz7R0rLrLRpb0EaueWKX8KGYOYSj73RqwT6XoxR04yZo7PODVB8Jz0AHOHNzBEstg8lahCO/Gnul3/Kx7DCaCUgRejYQEBhBflusAxz2mG+jP1unXWnZIQNKMF0AxeNcBIvNoEDZJ7QRDvwFNzzWgJ4gcwShmdgv65yMrliMuZMV/HnZIb6Rxi17qkrWNSRJFaGMkk4yMiUvJiZu089fAfFaAncBw4AzqGcB2XCGDGPolCHtHK7xkrN8p00Ar6k4Tb8ariNMJbh51/5yl7TGBbbV6eB2+s/u/ULdUY7cg7kVbog6PiQb41L0dlKk575fZ3PeefGZiQaApcRRUUur/0d9vxwKlZS8WDlz3xACbtuCCi56ZYi5A5wVum6qxCeI2lnV33RKWxjzqpuan4sfEUptXzlTQK8fX818sdA9H8czz6ujLmzP+jXA2ARVeJCjWs/u1LH/a2ww+iPReU/WuNmw1/MUYSasYrmdMSXXRsstok/ciCbR7MVfkMqKDDFi/Kpm1e81FEGB6dUizxSPchHPNdE7YZMAztmkIUQ/BrvBgtGYrZWF3p1U7r1ylDgFBxLNqGElS5Q5bGCkpLvaiEPnhB/4+2dXMtF1K1G9FYj8zRmgqJNa7Bj2EyoAzFZXXTPWKMW4K/IF++kLXblC9TdKn7XIJJp/GsybgdGFohHt5Q/3oZun+vJxEssKBX3rf1R9xaHfdvPdH7SiaYkV2piHsL0Jx5RZlbxgNkCaD74GpLAd+w29iOqdGlpWmt9J6Iwr9a7kGdrucPcxSd98jGPSpEsWMd6wQ8puRu+gIeZJ+D22EMUSFfX2LG4S/H6uhnP3Mib9VKDL+hnmOrqGeNamklBeW5odBba8r3/0y978iGY9a5raU6d75Ozhzouv/fDbjAzFLazCpzdmZZZxZd+ToE4uuRUo5fJcmwDvb532mQs3iW+LWNfSJBQg8dIdSkX0CYrS9hD9RAsGs+PqNtOqgrCbHKLRIk6I41oEOZw/j2tGrT8RiQmFNCwgiyUUkGjOhY1OCqXURQa6XUH4rm03cyNj7fTtFQ0RJsVFQk1t9yAHEQws2o1WzaX0+QskJparcCOfFXxQgFYilx0fwFAqCehCM8SW1dMWE/N1+XiBgLftgawsd14ouIXvcu1QgWol51aMKcHx0O7Cr2PuBuGcu80On95EdGWKUfscQQC5J94/z8o32ow6InMWdwrwpohpa1xg4PdDSvUA+Q7VQcySyDXO3/QFUXcOiClTkUlEz9vjI1pJKLW3Q1ZQVNhQP5V+NwbCuOcxuUoNIYuwWi23eWxChB7PVBTpWlpBhId3cjHOWxZZE6Q6IoGd9p54G1YCdfNRfpM/DwUZJ8Wrm+WdM/JNyxk+ViVC8axRcdJvQUzxUFktzZugVk/pa3+5GR8ih4BUAPfSzfb69LNVTPPEk+29A1pIiD7rbtJr+tckCcCl2zMo91VC9GKhXDiqE4eeSwYrz7IegykSwGkSYpegYpGfjMamksaVOYcuK8k4mOgM3CcnaINkRa+v144Ns9WEOHKyR+hgAYLUhK9JLsxrXQe5t/1qQJCW3OCElJdsf+DDviuOjABdXCrpe7YQ6/2I7sGmTQTJlYDFjeAS6Q1kRMMyIfqGXHlfCvgm91Jc2svw+oJE09OckNre2MhA9gy3/J9BQPLO28xY5egegBsHyxw0J3B+CXoKDGEtNFJeHbdp25fwhK9ClUnCAsI8u4ZHAfxRZBwp7L8hrpLiA+Qs0iDtxQLpSAG/c66l4Q2NUXdytQXCBxJEtqcwpNvRqVxdAcSWPcbh/Plj0GbNdXgztAG/AiY25T2KB+6kJHEPC7BK7C0Adq2HeREz4HzctBlgxAIAQCLv/uPa7rf+LG23i8JNos9hqIyxjce/CGEEGCOVuobVat80eLyjEVcw0IiD/xBQAt4ym4luu3l7dzqk48q47NCDGLdzfIU79dsI7Lha93IP3/IhfzVNSt39Yrh39c0Z+MILHSPtWc2afjBwbJS/4N3ANNKE0KGdFUSnJL7ZwuASa9kYMmpQIfMc0BtSCzZOWl4ImzF9NKXH0iX4z5/UC/8SJZE4rfJU47nPIelXYdXMse8cf2nYS8GJfE3iAoottUlbvjik+7LcoenXxPpAmJd9rKEIMFN7e2EXzC/q9cwLiJVnnT5FV8LSbIUZvGoaneARgUt5s4pUWbFHAQNfCdiAt3oQkrMJZjRfx0u9UDKihwJf9bWHdbnBjP5ZkTZ6u6kdkH4e11BwEYg0yNO5H+LNW8z7vunrGQORDuJUjAEX5EOVq8jVKYWBDWlLme4x3Z2UK+GKNvm43qV9AwLd7GJRcJO146gjryBidkFK7RAkzuLiUIuIsjbdNuWnf5zJXtv1P790pVSageNHhBLqasNVuWKNmv3pteZLHS5O6tmGuN9weu4ir7R8yvsYMvmLGNzJXrH+BZhWjaHYT9fo29R9iMfkiTxyY3NM1+id2NQeU/vvUXt5OhwzF5dHcXMBbuYVovOjRS7tIgujA9iobLMy0/IgOAnRj1SHT3gtbsbB4kix0DPFDtAqwtZJXfpWIITT3yx/qp56N+TR1l44uKjiftHWVD7qHyz4ztgeBvUtXSu5Kr7GvvKIQx1dgiTHJzYqK1miLZjDfWDlQwhP50bZgHPhJ7kxolLZu2EUzoIbLxGolQxG9YG+EfwQDiH5cyXzAGnaFCIv77PkxIRrfLsVHNyVG/5A1CLx53gTq6FI1sX89/OouahcG9LwIoiwk5R79UqEo4Wtcg57nwTVOiLLlAnefC0+aqa3a0PQ275NnBXF5Q/ZHHd0Y4lamAocxuBkmAwRdudR51dQwiBHPWb31AcfUaKudQVJkAZgZ2MV2ZrEqkZFTOH2ksvapde896tuS1Q1LLgEEpL8LjX3vYobmZYntL5touLIP6eGUsm4cLNf88xZvblBzSy+4dEUimZTxnYYskBnEq07od6ELTizabC6/JhAVBt0JeASKk2FmqY+A415YOBnZuVyXzsqmx39ssK7+gnFRlwh8IP42qHyHXeNHaAiq0s2ZYkXx+SuY9Tntw4kvSuWqKSp1Y1G3eDwFzj4Q0LCb801L/XGlgnaVrWSiyvlKGIctZrn7Zt04VLqYB2UXTbKwuvjtM8WictMuEwW2AaUO+bP1M7cDq9lbFi/cMLCFo0rJzSV+WY6FV/VkLixnZ1RjALvb21ElpY0x+AohmMCegZFzAGGsZGX5AijFIEL/3HraDy0GidAyCA1N8DjNGvDb6+hUHQJp536D08fSvRZ3RCOSFij/kHEHPacWP5lh4ImiFBa+bAaIt71ZJIJrd1aD+zYkTkHv5rRoMBXCqjeQ8pI1FG5Au8KaKf4Ob7T2D1Cp+2EmwMIenVdPCeCzlrG2SzXfST+k3uhYOI6uonqFcrczS8AkrMdLni+v/Rd5xVAVIFaDTU7QqxHiP7dtJA9nz77odBfO/qW49cOHHiluV3pwLobNwxTnUu1QpbY25mrbbVSbt49cI0z103HRGAtSVaBxPDZqY75CrxdUeTzKgLYs1M9kPc2lvS58QzFl/qY2zvs6dBgezED8bKFAR/JF35pL15Ozb3Str2olRAxqoIt4OfCU8ekoGMOk5ojJZACfnEAjGSbFa9LDTrsuGf4heKyMj8NrLsyfoaZ//zaHi73jV6fAKYiiORKx8hmvg4w+p0LlP1NGntn8PiDUy+JWobfMEOfuTqsa3qN+xezIJ9WHVAqoBVsL0LSv83sB2eRKf62vltRJ67qzMAnpTmB+OwicN2nH5LTZ/n+VXxkUQhb+NTsxlRNrCI+uTRbHRAOIzGEjItgqy3DquMdxqL5kqlh7ovHYHqS86S62r+R2aBViPRMzUbp5oHAJQy39hYQUaVWxs2VVBR0OFzMoOOGuVu+CEVZyOcFnrzZII+Nz0QGQ50kmmcJ21bRqmsBtkE442Jl8i4PoNCwMLIkgtJO0PRH7q0jIpIfpiDhb4vrUavxFNXTNEoDM9aTGJC33KDnXvNlsS3WUTJaMbvVPANiwfYpMSV4W4sb3UJ7fdYYYHwwekBjkNA1saGYf2aPMkCzYjH6IyfeFny9DCgBhMPlcuhSe1KAdF377fWX5n/AGRWvN0AwakweDc7l/bLiEB1hAYHwlVvKe0r+6Iouu/zrtCuzolO+6SHLQAGBbhezetDXcmgfm6KNe01w5JR9ktBX9JWq22sO+F23evqST79L08owXflZ6uhN4RnIlVoltaBqZlA0zK7SlBY58rBuJlfhLfNhRqQ/EdyzdPaM/lLlo3IXxsD0JaU1nO59kbtnyjr0KW65jB65DEpVJaXmYfn9AWYYkegw02kWcDeqrestOhTyTTccmS6kassp4bL6XQf4AjaTaZL/B2VvMuf5Qx4LBBCsGmQn39pNyonkeLM6R7Bv6Sdbix3rZQnDimD9EAjZUXY+We5bdA6rMnk827w2gKwyondRyKY+VdWVCbCpVYtNn9CKr6VN6ODW0hWuaRIQcYyJCjaF8Hh1WOhC5gNYfFEJDsUrtdWpd6J4I9pBzyiXnUHKSzUDRIKa+62Wmd6FFvd54nKRQbFrVMyOwXNu6FvwQrhTgTkBwgDbK9nw39ZLpc0HePQSnp7OT9/hWKnS/Q9HoXawyIm565VxzZGr5QfsHq49C71XMV3fFeVaqTpXzKneeNmGyuBg5/V8Sf/zR/hikd9cIDYDnklubG6EP5FpYiJe4doFRNDqKBs7fhs5opJgwvdLZ1q5sd4MdnJ0n5Y4srXkh6luWdaAjFlAb8t4PsOMWsNW22yMtaAAdY7eVsKidNl2OT6iwAT7treA8ZLYe4z3lsxQ8idtQxiAkI/tzjXcjcvLgrtpI5DTEpKCDV7uneL3/zgwJPz0eawCdhJuQMv58yMdAQG6epatrgNGNmj3ZMbQsmho/hNWlB0ni6BWKa3gPcAIEQ/LzD3f2xBl1WqyX1S7oO2AOPH0JWuyEhswJ7aoR2uuGwlzx1pSDNUx0WmEQMNyXyx0rvB8EoRZMpj2tLh7gbaDKidpJF/hg7NTrPtZNsROz9NVtkqoRdwg1FRJXuXR39rJk8glwzHYF/EB1fRTPw3Y+Oiz74c+BfXoVMXVincRYlEhynRhYgFYR/eu8tPOwblLnPJGKiXaxWXrK7YkfLXqW/GWJyqSk9ap3hwdC6sEO5tDel0i8b5QHtUWiGIz0mvbefnVSLm8MZpOIBOVsMYhoWTah6Btj2c/IiahT97KGNr9iTDmtn9hao1bvPzniux+Zh8zEemejlUxjp/jnm4sfvq20KcYlCgy7L+NfJlEniDNhGQ7OrLK4SUvnBfwszl/tGBtrii20nGns2lfqucMNSfmjSbXEJSCY7euWpF9dUOw/ZQcEaMei/SQjQs6fohQ01VoL8GjXcCu+HZoBHAVSgAFOkUo28CDblLqdFjxL+k2z9LQ16mW6B2diMpQMXx64S63DEUYEHeRJSrG9TY80Dv1UAfmL4BOFkTa6RBGaYiljKbS3XhmPfmFNx0QAut5yLIJ6cAdBkAnhHBBoN2kCFwNkGyDDHmo0GMNmDTrq9W8R1GLTr3xEI5Y43201zYayv7ty0GpgrCufW4of5mUQEcoOCtr3EqJbzzFrnkCsmCgkg9ta3NrsuKcCge43Rm49+3He9rDeHdtg/p9DI76uTFUQCV5GHUOuTv+3CC7U0Ro6SmjeWybF/r1+HFKcSkROc04sU4HFuTRXgbzZeH2K+MkfjRuLOglo7B39cOHVGm/JkQD0loFzFJHJmCLl+H8Ezzk4RjMjDlRErUGsa8++zCDoDmhb6j3mWpCNBLBl0ks7XgBHCHfUJ/YGHxUXZzG+ng+oKIW0V//1e+fdV6wwJSflp1cTnG7A7s/QHDIg89a9crF4aR9QOye2ai+PkoMzM9zz9jhtqpNMfhynLvWlWx46wDseq0jqOImSQTjvV3TB7e4wwTW0m4EPtEql9svGX9Dcb/2Z/oqFYkF2ohgi7YQRMmfnupERobCIBkoRi4Lytaad6D2tjZpzOmJgltAJV8cggza3q9g6EeH9xVH0iaiJgEDWq37nNWkqZheFAddJkHGl0jQYE9G0u9akS4SFiUOcuBFaRa0Ep5nt5UShUmgkO2rp6b50G4fEaAnBErV8rXYuG8l98Ms21hovlLmhpFx/FrKE6Fx4kWaB7zx3FmuyREqZAAVP6JoZMCT9KK3+ER8+qBi6KBvmUggb4M3Hk8enV4IOUfTdh/H9MYpmpqBrS5MARBMDndmrA0fTsCoPM9n7s1kQyrS1mQ0C/9l3vCs00A922viL49o/jzjJb555rtqNPTFsosBDD+KuEx42rgtbsD1jGkI9lHLbbrDiFoTqD2G4sOj4+O9EPK+Q2X2oxI+6ZK1Ia94/hzXy3+MGlJ6VvK9ZxHc5kHNunmBMciviSTeFmli4MShsiOESLmoh4tRFRuuhHggPmwMrLWB1yDxX5piSsbdxCxUFVRWkJGhA3T/QlRSlEw6i68sQ8YEVmIdLtVa0CGvW2XPnU3abavojS9Z+HY0RRM7k5FjWczSVp7Ta+TaRkl/5U9Z2dRR+eUKmtXE8BZCwJInE2i2JwJP6LJq+THYmkJgjLwyjwl0OhF/LNixd1+X0K/H4Fi/dbMKNivXjbe9dUEpB3GzVUA83fuyHWAJcDY274NzZmTTNZRvWU5HVRxptdxhMQvdlpwBAlkW0kY6bT/SOXpIVrLwrDrgfh53ReryY8tXY5TM3jvjZe92pBUYMW7JaEVCWHefFx6BGHx1c8IPJQPgAhAELX0IX7wl1KerYHFXze8G+oWDQZwO9bQ3okl4ak3IotlImdbQDYLdwyW5leRDGx9a2nXr1MukfWpyoLXUbuCix/TeSjf+NPSYb+/pSDGr4l598scUqAcQ2kvQGuK8TBrWSE12gPCkkyJ16ZoVrH8VIOsTWKq27Pk7whELrU+kCx3noxypZJ8jU9NBl6DXgPadnaW/1aNpMJhgBCOFlw3DPNe6mNbBu75RiZv0/XBRvqnvkol72sRx3bYvjvr/vZCex+FcpmmFtUYLwL+I9VQKKqoLuYj33PfUxkOSI/2gVtkis06k4sVUb9/BYGpNxalWEmYTGJy2I4a7vLnBuenaGzqxxeA3/gcF0+oucfiYTJE36h40fgFFtoRRSyXtwUrjetMGedkkG7mbfM0mmyi7jbDrv0oSjrbDsujSf2xOur9Jx2D0ovZfMnZFtKPwMnS9ixkgRAh7lJQoTysJAuS2kJT+WFPdBAteveMmiHcDDVVPIPyHZ60K6jk4W+FUFhXEQ8ipaWIOf4roDBxiKSJgVQuiQ9FTKwEqsJYWSF32crWf+xZrdGkVBVdVH59VAw+HUWRozMZ9JyxtOEQ4srKLhydr47RSwE5ndoO2VRXcVgcYKiLAVcfgwxjuQgrspJxmESGsC+2UR/Wj3CZFTNWUw3ttKJm05qH7enEfqsmDXldUCBTeR1gO/gi5b8IbIvAexu84QMp6Ph/ceDrb/7QV0a9jdf+qQqlSrfwO1+vm112a8iM3e/0FhpRkRSCJPfet4PjxxEJPx12u3GCz5141WEEh/xZK/ZytX5C0IPR+r+a8YqontLvp5GCd0GjGSVsA5+sm01VFse9j1A7mZS7UzX6cSNGNNnwOnFYHC1HST9bCox1mQvCBK+5AuvOAVczbNM0rznyKkBbLh3jNah3hyhswH2rEGb9Z9px4YN5fjhc6xQksV3mGniNgyWisynPPlBZci2noUAo/IaNLBspgUoWRlYY3dDGNd8/mO62mKMD/pxtkBOf3N34wL3Tq25nHKrr0MRyvZMXUWCFCpjsH5/USAn8cqYCfoVWgPGQhzwRXBgt/kR4COo26nIHOjCrg8qacEfhXU92GA6ZBR+//T20umhBwIU7JKMwrjAv4ccIeyYJKf/qBi1RLHg9BQ7BEXSAOE5EgQl9DXyP/pqyOmYbx2IDXS610KQD+WuZIaKvPfjwP32I8IR54vZlsNyACP+JWjUVV38MnpOLPcbA6RfsGDII9bBQ/A0kUysHZ7eMeY4mGPcBKpnOptaoya+2NvG2DYeO7e0RrMQKEMOb852IREj4ZvJrpjDnHu8PkiXiStd/SFFG3af59CO4nUvTCJez7tJaik8+hPEKGyS2oq/1kdFRrlX/lfWE1cZkxDwHy4NaljBT2OhjStgQdxTYalF0ATK74zOdSS4pYHFCFUVmBbiHDYfAKK2M5YUpunL6kwGF8lu+fcvPqF7I74Wv669ymIeaBDGatveUc+9Nlkc8Lv2XJujaRRDvXYOHK5tlscitXO7K7KHvkjkuTDJrfifNSR1+MdHBhM8cI54mZxBkjc71kbiBnxI6yF6nrKSGuvn4jdrSmu+r5wxg/mxtz+hI7Rg9uXXR+Z13TD1eWCpIdTX5F+yJQyZ3tvoliwt6eySR2A/cyIQGI/LpvvL1a4IMTpa2awOem+g8Renvkhy2qrMFrLMPrMAMVjctCjE/QE0YniomSfGcefcC7/Nk5IOpwGxmI/QJzDJOlBWV8z91U7fJuBM7XmkoRkntKGaBj4tJPIPxV6AIkP41XrOzoycO+dhZLtVbow0aOc+GCCxUqilIhyz7iCktNKt+9wJGLJjwhlI8OgV6aoxZrpPc+xjSWd5o7GWVvTghNZAotPu1z6z33e3TXtVowZrtj6btgtVDPOI5SJbcHtk3WyRdTTyxVujKJVIgWXMIKna8ga8o4gDScA5qwy8eKFTBkWdUHpDXY3h4SPPAOh1kH19JTbR1VYnGl7AutyD/6OtpLst00V4V98jTiKxhMyvbXB9/EuM1WjcWwxvd1h5bcyfj+NbhuWLAyPqzjTIm22SzlIocLnlISCBO52PWPyCgpM56yRPpNsI46uwy5RaXCrj67KlgFlS00Yd2AXSMkxtEkDvRcNmcg+hhGLIgGbiYwKjcmDCK1cFBA9/ynAFSgG99SEpSzcEEomPO87ZsfoiJZ6yM0lodNgB9ynnl/N/etCVpNzNfNaklNlT2P4S7I/RJ/TqiIF2iZYazYJYqBC2Jta7zsZKPG5y1taWHqzNW4EGU4sSjAA1zpenjNmW3Sj7zZmKMT1lXXXsf4FZh8xsVKOLkXAntBp1+XzG700QibIolkDJSxh6/yvArgOVIsnPBW08tHftHaBosJulZ25PwaqdEvBy97UIv9osx+1igu0oco1Y3tOTFVy547NIFp/33gd98dJU/3v+iKbCR4VYqLqVXlNthYZ/8ycLY7MLakBeLRT8CtTTd+1nWCAFPHzF7696ZVkXRajTGnG2+xkBSSsUpIpfZPHRScrVBS5xvszlQfnSyFRWxMEUUQkieGUphGPoHgaGNxjeQY9cTd2jGjtpswfDOSbLMCeh0g7nNA2tBzugfpVwDKoKowbI9Mlj4NYRmII3gTEgmuTYE1MO/OjzU5tEj4PoHuje2sUopuNHo6+ABEV4HyzRj/52+6kYHp8ISI9gWp5+WEpW16UsTOEKgLAPjkpiA2hrrIT+TOJ3f7ZQT8GSdfy+GZRkb+blPciPYFOAsJ+ZdIcT7vJ04KQ6XVz63QsiUyr1a2N8frzWOYSlMlJp7JRynzg2BcA9Ryt0OLO95ciAL1wgt+ImkTlHcOLz1shYZQqeRa2J7yzE3n1VpV7VsrbAS35jQSeb3DgAEQPutua2RGXKxW1zao4/fHKaIj4hKNsoPQxLVAcGMMeXKyBtP5w71qVAmekdkE6aomxy6jpU5Vb3svabvdTnPyOUO2qZqW/VbpMyoL94i7jVPCuYeGC8V5VXDIVNQwbEdwyUTKBrmxXh8DGO7sYUhUO9owTiU8hbce7BKvgyClSOO9z7IkJX26kBZzny58/wf7CvnP4XZhE8OR/3OllDIYPf58QxFPDqcjXFMJBwOHd4TuWCr87ij8nFzFwaqRHeCgXuAmg2zjDsX7uMhzs1g4kgtchgUFC1keqb2fmUKofAKQIxooRWn28T5mF/ULipcf5s5ufyoOV5UpvqBdrQB40XGLgLmfoFoKLO6ZYx6eg1XJnRY8iIj57/supnEbuJA9l7K1HVvNNXtl9KgVFnoKGRaJMJHfSJE44lACt0+eLR1qwl+Yc0OVqLUbOGlBwhiVT4x/Rf7goqMgmPvVU6fvoue/qmHksn5L3QNAPUpHWFTyWGvGdx1mRihGhItRTf/gGJW5EU630cCy/txMZ6hwrNK/dfk4EkT22mY8qY6Cq5kKvjhwH6HJMjR33qQkaEmfEquWgxgOmPrgQClJNDBI4KzTgvyxvrSU7awo+M+eUehHCfYIrYnyKvesYbHOSYeApFTNwnC6qZiH5gdUF1T0I39gddEfSqi9uhxNirVgPSnvwa/eaHJ0cubGG80qNC0AoRdjsuz44+ACnqo6uiAwf+MHmAcdb56IGTsQ8GNau9f0ebx3GKFjCCVo+LFBl70C6rRzTKDySH8OEgWf1VA0rHOf9v1Tm2Q0rktJqAlJl1HubExxiFJs91fil5NPznggWLUtH64ImoFvAgydtsj8CHpXF0+xZVib/dRukz02yWHZEzO8JxNFdcZJjxPr3LjDhnK1eGQoiVYAoqqFdzIwzJZOmB9/R2tHU+/VcsgpiaMxb+f0/Dvsc6QslwpT7w06/ByzivFan077eBbQzCYfferCeNj17vTGtnqJ3M3ZDfbgm4i9HII1+WKSby84SXI/kHP0nkKembYKTTZMkVJWo3bJK4pVdOy8W0cGptXRp/MgO+v8lkIpUxh7v0Xy5IKv1ApFu9q5Yq7RLEG7kD5fOXct4SEG60vxZq0OV1exHtkM2QsqfbocGRpq0gJ3WbSsBoqekBsSe01oli0ndBedILaLzzh5erLjbbxv5TlUWYy4KSKmsYLgbpQ4iUOUmGQbnUp9goWaCF2VqBC5L1sYyPqQkSA8jY/7sju7rAkerPhdCF3hw2/eZwt6K1JysIA6LysoJZ9tD8YdKWYMp08TFVHdvsE6DP3Gs+BxynSDqJ/qrQGgP3/mTx+Ff7ScYY7kGKZqEG/cptaZmEqxbNjWwlRmU/MLH55366mUQvaHd/aOsQM+oPUG9kkLrqhkmx0ZVMhYTdCIYk4bfyfAhyfydQqV00snkWT4vlywUKpWyAYXzJ4mjEU49E/4oPf2mfdAQh7iC8cGG+JwOIx9SgrqPS8dMUam3Q55nsZF0I2bsnrGHFox6xFzvIiYwYpAfLGRNIcVUwQH34w84AbTcW2x3Lt3SBKfLvTNLn45RnrahDJ5i9bMcSHneqyTY69cJnp926buv5AiaVqSSL6evMyOPwM6TOQG3l21UywAD/5Oi0pGCgM7FgX6KY8YcYwSEHE3VuolnDm8WpTUQ7ImeXpwY6gQloGgboumnyvjCrs+PSkUO0XV0tZ6wnTLTrtHlPiLS5F8dLbqjnQLryEwNzsiEsGPGMweQLWpC4TwFKvEnYx7x+B4v5etHGclU3NlD+saW/Zm9CJ5fuzM80BPLFhOLdcu50/zingjfwnNNAI+Yn+Eqpkm04mY3tn5slbYzSZBFzk+3hlp+VScQFBHx+WN/b6lyAv+sa7CEocCs9rLeOK8UozQXBNdvzhIqcKIw/nV/DBFs0jsS6MCIJKetffxpCHbpZjlGm4wExCRcJXCRbn2qnVcz6QuvCflWQSFFSkuBV+wkwxIHmbeN0wJNLosk03xl77AwRNrUiwxI1KVm9cwtJ0HzafiwduDT5fsUml5Uzld73SqNkH/9dVqQ19EdP01dPEhAbU9UcvPc1TaQuPsM/pZZO1EhpbrMJvQvxzCIrE/s9aTNx3B16R2l4KYpYn13+c5GWwJZGZ9Ol7gR178pDSuW2pNKMSGQy+lDncc4X2r5kHd2W0ZWAKls43Nk0JCbkiw/mk2Oq9XW5UI+24S4oBdrFCxC/yzkfSKjbNzQNCrKJ5Gc9ERPl3Rvba8ASYAKDIRCMFEbPZ6QJOqeS2mhMYe9NVPzZMXI1q7vEghp1wzyVAx5Ut6C0MmMQW/nnEM3w+K6BiUzPHzng04gRwCJ4ArLNbPimXoN7nTeXJ/rv9H/ZxgZDOVsdDKSV4mH09xg7KV5QuukbzGB8m8D8QVxbvV3kGNZSCD/q10IMUEv4vBNljrCHbSvcjFdjbgwV0UIvJYTIkFKqtPBN+nFP5ys1QdHSOgfkGo6LpbSPs/Hkxp/GLDuCT3suf5iUlL8Rn6hSKrH5D2MZll5v90NeONBV3KuLA09TCbuOHMj7U0foq5iwC/G6Tu02/WKxTZ0lr/9uBm5irKXk5SR2OfSb9hWcmoxUkVgjlTZgMFcewJpskRKr8tqA8nocBBFvQLlzsaw1Vgnt2CfUbajk17app2q8/tzGD3VLYRNELerXU3kOxYCgQM5b/qhQ5OzB7DdICTGRPvtsvYbONFSVTJLfdt5BnlD6qGO9bNOZeZ414ueuK57c3vrB76+oWBBvWJMzviw921af3bbhsY/YGiEAONxoXmq00ilv7vB887l26wOLpYzwvV8PQ9wNBJIHsiAWcfsDWvB6sEZadH7C+dof1eQBAgR2ES4PiIVQg8bfsVfPnErneH7w+EtMJZfzpxrjIwDjzU6hxaoKiajmY9HBp3Z+iZtOdkTfyKJ65W4PN7V+jOf+zAmOBoKq3DRf2XPe9CPWtuBgo+txPz/4id+EOKNZ3549eZCbeHval+BCfVcnxrJwtOz5zETpjq7qYRYBsDb1vp1UNelvKa2mcq1g+orMvceRgrhK4xubAC7IawU28D69aW1TCaKEm+H10166kerrPss1N2T+O7ofSiydBLU7kNgDcuTzjdML7TrhjPDH5xGG5GSUYl9rieEQx0/TWmxY9/D7iUZ0nKkg3gpG/kSpVteS6AnZqD52VQne5gt5tKyAIMZXduh3M/mitIGHedzZ5leTuh21AHvIiTX+SQnBTF+76NDVAbrtygf4Hd6mYocRI+WZSbPTBwiw6ATzowxEHMdgI7OxAs1wTrm1BYofMSHklRn2ClkIsgWl8FqsCjkDrpc6oNkT10f4xWN8PFYD0WjZUEBpRr7QKmVayxns8u1alGWPJxtb68IxPcvPUkeni+f8qTtFXFdRQa0LBigqrOGBsV16MWyUY5QpCL4dRHGSCGXK6rFWddfBx/y3lvMJkzGUWUI1KaWpx2szJOt7UrIEW2E77OLmN7MsBj4w05QNO7ZFoNnhbBekGwMCkhTL3vZUGeZ9DHHc9imbML9KkhN57b0CylKBpqOgZ+dKlvl7cJjzVqVMcVEI/RbYQ8RTW4b7Hhx9ewUZNFGouetFeOsSzhfUyBDYWEEER0qkNfYRaao6sSXRjE1GhZMtYvVwSYkX31yC/spad5jd+PC/TCcco8C2MuLQXdXf4ugI9m/ksWWKnmtCQ7ebIo52Mpv8GFJAWS+afWaYqNLmXaPD7De3EC79xC/GXMUrsmglce7EewduviGew31HWvWkD6oFDjzXkvVdXt2rgMM/lZ/Ns8YlpsgFEfdizyo6TIRM1z2o7NjCFwxpxNSDyRfwg42BpIbi1qLC5U8Kll/+RbvO5rn5HmhEBss+kJhGben3NP7Dh/e7ZjuuFeaUvUPbE0kbByRJebQQszycq6/Vyr9TfkfTvQG/kucgn5dAL8T/JmE1KdogBZQuW9fTIGwbIDPa+VdukaU6ZRA2Ytw9MNI9pZdcu1snaGpyk36hmUyFYYdYMI/awf+9VHqtIDu+gwVUU2CnBgCJWwHSaxhKbYTPbVulaRM9RGNMC+3C3z/lQzQ/sYGMlR5XdCCcJhM3CrMyhKg0R2/Y3MoL5F18gtVIpYf1srmDk4yxc5SB0+lSdjfxO+BhW5b2vW55Pp5276KH4A0vUbuXPDdxONPpAhozZelkE3RC9T1x3hDi2O7LWaKMEHIIt6vF6sAYazFBlAcjtwQdXoXDjy3Es8oGHVLGjr55dd3K+HThjcr0/l6pI0xIlLgxGBdaUOZik+lqxafJXK8o26TSVDbBcsAAwJ91vF9HczLQyn8eo6hEqfHcX5W8DYRv/8F7MyBtk1l4rubEaGPXQUReieAAz/OmSmJ6fGi7LfPdRGjekYMnZmaKUNFIQP5R8ikukgBakeKiMMm6pTSn5k4PPnXlzLhHF4PovUpHF3xAyyGz22acKXW6mCW8iuFkxk8NR4U2hXmT62MsPVmyJv0DNHhiNl3Shg9FgecNQJDOZQOjPJ2I9/1KVV9Zd9jrNDo/n6urc2AIwTomCGxXPMIxUFDasm//sWfReBh/CqBZDEiQl+s2X5V27jswU/eaOMbg1TM74SkjZAECnOMXU7X6mDP1q9ge35LyZJxKwKI9l0m1/K356kRClhvY1xcbaw4jp7ZLaz/k/fo5B+6My1wshToU64WKQCzUcGMxU0ZzhgFUiqiQZXl2eViikB9ZxJQFurDr/LfTGjxFZ0NLoP3bU7K7wyZNcPOPdBk/C7zzvn9X0NJsLSBZk/KWteqkslz8lwsvphS2MQCsTIxS+ykAe6i1i+kJ1QpmrsHmRJ2T+4RKrxLrS7JqSySbNDUBPe6lmaflNaRtdbRuwTdLgKk7RoEMQ1tBW4+jyTqvlFs4Xqdb7Qax2GieCT+npSg2CDyIAI5teXwrfcZz1aBEQM2F76bNRpiL5D0331yep3slulE1zCD1ZkKl+rAKGdj9MnGKGxigAys1C4O8aK9nORyzuOuLvRm1nxKCpsqg5r1U+6ooi9N8bnjsOyJWI93HAEgbLJ80nb2x7zLanhx93p/rNi9GnKxuGFyZzRFhpjMlgfdytCsXvoJyWrozpRJmC5tnEFcti3HCFO7Qrwsme7wKZ3WJCXbNEoPL/Kr4IY1T9ee+SIr1bPHYLFZuq5HCutNmFddz9MwMadEBLwG6SHQGo6JZAmB5DbOFkHiuCZpupif5XRbXDVsMdBjlYLol83fQCE/tdHVEDyXTEcAEjK8pzgUB9P1EKN7UNRGVH2zNY6IkfUEIvd9qO79jC5ME5vWk0lXQUcQ9a9jot5/jK7ehlvkthDmj0AJu1/RctpaJaucBlGIsCCOvNMO357dZxCDfIvnodpBoUbV5rByolKdVGgPKXbC7nGw2h/0tNl6em+Xz59qAGYGjdgt2+bAEfSLNz2aXV+GDdVIgEN+k3+HWaUoNmjKuZABXck0Bk7JAFCvs5/e2xzvpfeC4PBLHZg4+QlMFiPmrgMSEdd2CKDPA6Lg5hrBd7dxucMSM+IkR2D60h8yjze8otL1zocUPfMjpFHNWHXgAyMSmdtsx3MR6Rb0xdupgEXU6ta0hcAw/CBmeTSTus3gvfJHFLKRqNWnr2LSW6zauEiHPjT7stABlhK8V11J6ViVycw8nULfx5671JjB67fZlXpK8Agvf4/Hr1A8zFTiPOH0sEsHlUg3c/hvk9OawYDoIIiGWe7GGb3El27XB3381d0YcRviaq1Z7qxHRd9lOGt/7DL39ZanpcVBTaUvxkPnu39VbskDyujaEekm8RrCmDUhDs2otI/LWKUxYQb8PVpKvydyTTuIf0Z4pnz6XpVvNHn62zH/nLsUyqlamQ+bzzalzOPVVHx04s4LjJDWV12Zrb8yTMbL8yg8e8WP/RVEBoETi9EmqyKWllQfq45LfhG5nyLicL7jtNn7GHpwh6+x+gw9ZdhWmqkYYbW+1WYM4JvmOaaQjGAPRImeZZWAOk6S+VWKxHV6sU4uj1m0Wce5IszAgIkBa+O4V+6idxA5UsXZERJark0G4LPlaGqLHLSyi0iG+PJpOgA775yoUy6IBTdzchk4EcvKBZSH/6H5IzKaw0FjbKEqQ4w25l/Got9lllu2t+U9UnDoidEznr8sw8xHaWR+ya9L4/nN6X9trs6CHvTlBfcJhlSNf1SIJdy1d1LnEOsREK1cyptYZVR6UqYfVZ6pV8+LugKHIZ+AQstrKL7dnJ9cMo+tzieXnb3nojyeImq5KSKo95qERO04UnRDowefqFM8YTf1bGChdl6NL8pfi+IYzvfENMt6SylCZdEyeqR4JW3svlWNf//jAz7uAlCaZdSO5+uedMH/IUM2Ylegpy6AynCmMAzCrFgah0hxeKKWaQiv2Z+JHMTPVYmlf6BhHnavSsBHAGSvj1mTTIic1TUjMDbbRMOQ5OnZ8RaXNMzfiEoeQubBZFF/ULo40LGOFqzicHqL578S80GfBh95pE2AdXgC7wEAgG4fxXzi3VDzZ14RcK9AAozHKG/arVhKxYjcJ/B0TVz6FCpoX4PoHtXUa5JB/CVD7DtA2c6F9hqudTb/+0TpT2odmzSAXFq7W4JUq7eD8CrHLLT4BYxAXZ59btH31nduRssWJphflVusNc7IIUHlcf6siCmsULXng0GpXNh7OCHzbIiRjaUQ8i52PLxOiyPPAe/ZVcDBeA8z+73n0lGq4nuFVcR0B1cRUaLi6ThixPeDsDSwEp1Kfkfz9XfoadTQXlnnShyGjdVuaeu8CeDie9/RHAVUSkt/Ciuf+FnmTN7KWpVVNOwg3Q0rxaRs0Bi+OC1JxrFrbTZzyKOEkTud/22hZSVg6NdgWT9BwFwwznxS3KCwvieLiT7xYAOQ9qTK1Pn1TduQuPiiRi1ZjPJnvq/M5cseEBDXdhB8SEBCGhF0/3As1CfVP4w9fQoMf3zHzuONxh9QTwLj+fNl6UWP6fuM2w9qfeFqPBoIW+vwKg4JwZB6gJa73y3bb9C192PZKwaf+VJmbcGcp8FAdB1jhqumMRmToRP4C+lKrg5dB7KJmBZe2ebW5lEw1ig21L0rQYM96jQLc69WUyL/u2UxfaEuBbRNUW8Ed5zSZgKc0tIInKX7gzR26Omx1SkeUK5jAAVCCObJ9fJ4s3mGw5IpzYdLVK+/+7TBB+lio5tXE8gkGHshSkT4wl3TqqwoSQQwZygj399cIYN+GoIrxkHAJQeCNSz++KQ3yep5UbeJrrhQ7087jItwXeC9kKgKPPM8ygfpzONab9X3ioNlkgNq15FjEF6yeDDNh08Q9VFFPrDWTyLiYu19iHEpOVJcuRpYRfAUz/dk+P/hRVeiy3NsNZo8j22OgWp7nkNrQwBmRMMiOA8CBvBO7SXX4vILhhnTEHQ0qOpJTDdssz4GbCR7mL0CcsQB/pw4a4VwzVeUKhJ084rkckyFLSPMAV07vgOWGvfpO5OGJtNipf+BRyY1YNdLsZ3nDEu5HtIyoKDUJCvjoEqwU1uCZJwYdk3PO4U944jSVp5rx9ERkIg/ebTKWEPjxGol68c2UYA9+91I7WSLFGiGbqIgyTz/UYm3JZDmY7ppklX/UQaCUp0pNn+rrKrI0ZXjFlwiARWl0WW+yNYcFZFTCX7xucgPlsCILGmBLvLz+GaSxufny4rByeLfi3QJfN5n0RmqU2lh/FzgLeO6aepHeGU3QzAc3kwUE/DE2E6LMpg2WuGqhTBJqbUBV3bQepqNBc81JQgPqYww58WGui9JdnH3MsPcKX0h795UoACCe6J173WOZEYuxKYRjEIi7PwX/muAm40ZawZX2NhS6V9DjaTS/PlOeKThMHz6l0D7NcR2v1hlXXKkCut1C/GcP0Zw1feooUgDmlhexFzoLNrDQdLABsk0g3C7ZK/HB8FxhGTA2TG6xbVmJEqi8qooKYYjgQ6pAU0M1MdaWT4WwgFwaw5bVVqDmUwXBFpTsWuRy6kSQ+MaG66Lwafs9GhV7J3zDs/ohNlYASy/gsD6aA9kmLbFYxH9hFexHAOtIMT35U2lOAC6MBxLnWubRNgGdHZtCLsqjTOdUZMRm2iLWdacb1KgUKf4vzsISaeOE5ip9oh8H2FWOsoyHr+HSz/i+cANlxPDjvjGnsVQB+VzmCBdhVD2XAuI4KXyiMUA6vOeTAnYYEGNumk/5u17jvi8lxIzxdnHsLLMYBP0MquC/7QwJsgxhgDYo1etFjHphpy2EEGfDQF1QyHUBpf3j9T+gEV/ed5Arhl/dwtGLtFBUguNmulRKTMXZ+UdNkCC5HZqPP21b1wlsjMLbQsWM2kmJg6MBdxbadl9W3AHeR14Fz14mhFccZ4+CjMEr8dpMbatse84KGxiA+csWcQ85QTjYLWgHdNbwkTMc5uFrKbz+GcdrSbeTHafdIaqvYml/Of8yy1gvR5ileJC8AVB/mO4la2P/E9Mnuq7RpilaHWW6UlGcf0kzBZpCZzFt32Rq2vdAXyJGSnkMnaniG/3bAciyxFdSUgk5MACX4Eg5A61NwooVnCu5T43otlY48AphC7HhG8vwJCdq8EmrtXwjQ1lJJhhLHLce5Ofl9x7W+bjpcwjo4ohSf2Wm3cCFFh0OQRTkDdf/9W5ux0HO87FPXP1d6h2Mfnrs8Bh/AnXVSEDs1yZ0f2Ngfee+B87Sy4Z3BK6Lqz9IwWWeeAkGPllVaYuz13uN9dOgZvx9/49DzTmEm/5En+/U547r4Z8UyhLjeT62eCqnoE3qva0Tq15rSxrkAWf6KqC/j+8LFz6+06UpHioBrEfRK9oo25Q0Pu5ZWr/OS1irQaXT10BApu7EAcFE7blJsUUGkMTPbrxa56vf+2usnjfV/hrSrPmCeYbmm0feehws+SXjlEnjxR7ZSFNZj+lbn+eaZvNBzlXYILy8pTX/Z3+mQZv6NK1QdmGLsFlGtMc0ZBckChImZyhVwqbXQiqiL6N/LAVHxUviBGgN4aEBhstVv2RTDlq+D6Pt3WMk3YW+235K6cZUN2kKcjAIwBljfdjHiO6cAGrV40c7fmCCj1fos3xQNfQg/ptvcGzGtDa9jebXZr1N8+aXDtu0Rv0zyElHWLI/4LSMQMWLTx+ulBSIOhNpZXCpnRHYy2JaHCHQ9X8izWHORsx3Gt/O6hNIR/pSe2+8Nc/nBmRY9em0Un5jDovCluVoxyvjrFj4FZJ/pxpperUAds9+XTBjLZrMcqSDgiZXq1EFp1lj4H0lR7tFDgZgzREsMlhgfhU/D2f2nSMgpqdfom+E/XveMwVfoWuEkhJhhxj8E8Qt0CY7vKJDBNtEpN08A/S3jdoT1Zx7tuXdmYkx6Kcrd7XPay2++p8pNRVk4Au58DHwoRl22BWKfNafsBwBJtnW3qL/Z9h5XNFGY2kab7ZNzFUa9bDEBxEY3Ek9gLWxrLzMkCGkGLhvI+NRkfzJL9qkkI7k4jnTvdlT/EGJu6CQziRuBbdghuECPRoFSqbV12TTCnuKsmRQMEHruovstxTMic5QeDzMrOB6SXyYNTKima64Pu2Js6plnm9hI/PM9QhrSOa+xiaqaQCJiYXziwdR8Ve+0QejkLg8caIZadXdKm2uKn1j2wjh5LxLNLWhHDjRJsq++fOQUz8qMJh/xEm3NfiFSc8fycEnI/4SLnYnHnnRdqzOQMN2Gv9qIYLZO1O3QRNDOjCJ4e51EPLbkU90Ld02WGrj1ZBabmpYg+dqKR/yZfUJrxIqvrPAnprn7aC+hzNKfq49ybj01JGjPoPDYHnMt7mVA0YHqx7aCkC6h+9vAngPVdx7zaP+2DhwjaSNiML4qsah8d9ethvFl+2UlnvbB9TOBY4NLfNquqdQ1W8PhmZh6yvP/+A1xFRY7ZD5ytYa+/cZSH6/CuS/yklOuu/jZjZ9fpaS6jNPBAarbM2BzIiTJ13j0T+PpbXamL6gV67gn8waVyrj+39LXhFiWdxoM5HwAChgd8TlNIuJ+kSU9EAvTRjBJcykJdn7qacP38N7dkFE0Pun/mgs0xCFv4O8YqJTPWU+SH+cc0JjgGKP9b4otUD6iEtz0iBkB4/Jrl+AZPgefYiBaE/wVwrxxsxjegUeFc/84oKv7hbUARnsN5VLS/rRBETaGfoF7oWFqUVd3WRtss2xtKa1uW3rOV3u15CgPB0M4dJXDMNkfmoGMqdkQMgwRNcpg7nvidJoUtPDsSdJ2AXqy6Mo190hLRpVY0TDh9jw72jlp/xQ6igUoNsATgw5PO5+pES/V6SAiDOBAZLFckyYd5eW9Ds1O9x/UezroMaN1FIq/gkQXFXNwEtpBwKcY0KBFus84R3obQFLgkPmwvKzK2gN6uHlUd8AfIEVMPNhCu0yz26WiqcitKWotsnpUqJCg6CkYJ8rKZDaWcDJK+Y4T1qbhmef74pRx+KwJ+QSKjAiXrMy4hl6QkyIrCIHcnT2eyoaiSvKKxzk9+Qg33fBD19OR5aBupeFaSv0W8B5Oeyn2Akg+yuzSI84gXI/6NpJ8XC1h0Q2rg2kWS80vezyC19P4QwSghOruXYC74cVn4fw8Kfjh7zVgN/JGY41knUPKhLKHHE4H5tWfV08x/2lG9rvFxHgJM8VXNU+21ph7WBPYMLJ/RmqGFKlu9CKIscvib8bGWluPjG9F1eskxGA5HY/9zl/DXN8qCzHnU9ZmK/Z1nv7XlCMrZ0+k0H8vcnaGJj9Canj3BC3J4kcByGGadGEFoAXOihqmI9rWllkwb3gcmRD+khIQA+t0FR4rxwWiHKEpNXqOWXUXzTfQ3vRojFtFJ9DgRkz/xIQo0C9mC01pvVuFhaBBvwRB+2ZbDo/9lZW0QI1p4F9nfysDZdKN0G6NIvaAv9pqk8DiICFvgBCoVcxUCbA655SQ2YqX2DYsjqyvXFcCTL+kC7Xxsw9jx9yGmbXcPTzSckmPUU2KVkBWiZp0Hs6gk/uv8di3AD1QlF/Jl7+TGKD4gOO3RiFUgfRinypRX1PKepDyy6JhHzIqRvt42nNO2W9Fbhk2wl4ybSCFdHncFLOJQTF8g34U4tHI1N9mXKKTtr4XuCcU8vkFwM5maivhxne/jqeyC1tPC8nPT901BMkG5byqZlRmhUP+tcNxIF2uoHIY3lj/9Z5EnOe1QDJTj65pNnkbwOue7HM6J5rXsFXBPLcgiMHeckk/5vKDJDoMX+ZOoGqRSp6/NJ9pj+o/CgXp6PIe4VWuvgcCR+Og3oTT8gV5emhlgut75lB4aqfEvdB1bwid3kPAp6uZSXB9dJcbYd20RVZSWncdN37YgaKPhw84miL3yxnpqb25Cfmz2xMd3pknmcpI0Av73MMfJcHRKmlI4pI972XTKuD+Ro2DIXAYkEDDnYyxTZey9qMWWjJ2hkt7oFN+zUnaMiM/o27KffkWymTLUfo/TilIjZIJbQfRrn7rW9O2TganJaZye5bwH5WNRqamtxpT5MbRH5FE1z/ft3+dc/fEzBeIVZprV3IojR8ZL6uXPjqk4Kj4QHAXlxtoeMLNpeOeL3FV1wGeKoxcU80f5tv8gWtUtnPa0XtE1WzVnw+ViOOR6gpI+cjdjLgntZ/qujRmeMlYyCG0hJzR9yBG3wcIDLlBh4zceqpqOSN5OpJuMHZ7W5XvhL0ZRwiRy3V+zkKKrzqydTxaJ3jdprhLOwGg3v1ge6rD2kvXSzRYEhC1dO6AUsAdiOU4qx1gduBhaVox2sORKaqFFByUnN9w0osfVrJltHLSGBAZoJWmSpy/MDWa9z47bG7bw9ODQSdLw6IjbymtanS5VvAqi/iV+L0L9gOn8qEI7reBgER3qKeGtkgDqXg4eizti07lwDPP06DU8P1ASzS7d+uKS4AbXcoh2ToHygxyqNa8IqLRyloZet7X7Mixk/9pImDex8+6w/mYSuFYzQivuZe1xyM6TFWrIRmE0MbTfjq7E29qaPbBomrfBP9gr16IxNljlTpbQqyEyuA4YJH+bCv82JCo+2te9WDBORvLUeIMR4LlIwVSVQfKZsblpa48xFIuy8Qht/xHC5CkmHbbw2VL4hivCPHTr4yVLHcSLxWrrZFKywM4y+aqedt2W+D/Lw85dBIffOZI5RcZ4DocFMxJ4f+PHlhXE3f/3EwRXCPnxbYD1IiWAhcgHR27nR1r3I4ykHyWtEF3fZBvAZLkUq/atSPQnIGCieaeGhOTXSOdMs50a6g9I+fOkczUruNKrkHUxHZehJgXGatP8cShWuTlv9xBY0Xd40vrxDzsAh98DP9/hI7ib7vFxcYG3yINm4wtU0RSTRS31hp1QhrF6bYTSP5AaJqUrRnmrzohrpEHOYOhEOCh7poHR6q7q+Cql4nFCHg45eDSQIzXopPZsA4Ii/TJx9bP4eSczvdvUEfIdSizzNoLHjeKTRlSQ6YdrhdH2yAKpSFaEPxA3LB1GKFmKxKcwUNcvnCHU6bYYWe1SwrroF3xbuRhvuYee+TklKsJ+PmwVlOjvESjxGjwZSfHgUi+I+ZDyrHckgJV6SJjjIwaT1GOwOcSuXsdVhekh/8mWpEHrfpWC/A1MK+agYFGUd8se6/2ebQwnqqd+TN0jajQXky4Kcb1fuzVzbj5qr2Sm+EqOC4wLcMZBJjZEN5u3G28tOO19ZO2T5kPPGtb4QqseZIiNdXVuEvqriK3pbIWnHrbwZIUAxKPplpgK5vM49MSsc5LabHxXjcAP+Vc+eGdKMowgqd+gt8ZVgUL0UFIZhqDotiUH49E3FX9GZMRetzGmQq9v61vkOhDp/d1ZJoppKReLC43RKpUWrppq08E/FUXksxG8bNZSIFHye+vPlgfVa44Tyw12slu5zVsXk6r5CoYICu84grTaVGP3u//23q4JaPtzBmstr+B34Y4UTYqvFvlhLKRn7VJ0laujZyFHdQgNBQurpMDJGm+kgYqzuZ81uoZVlc7+iMXKGCxcKi4agvPrOv2OdulC3ZF7jdbHR4Fym6x/RMmI94+pkawSuwwKoUVMkRVumuE6eyKBy9lOBTD/AS4iEAbBlpeSpl+GUm53UnBI60bLSQFn6PrgvUASHmdZf8IGWTcbjbFQJlkLdxW6/DB9wA7iJ6SUed4gKgUGJisQRXTz4uTK/tUK3Jfp6uCOq8hiY7B1fP+OnLfoeYBYiWkXWY7CHXKobjpUUKleZdiVZi6fMEfKR9yz3/FdYQgg6TMUkkk/CRw6UgAXCPN2kOX1Wr0mchLvEFV0fslCtrZ1oU6UKZesWf+yH5WKDSSMFos0/6+SgV/ywYHXEIBZIOABjxzp1EOmSRKVGGYBPvvsy28Xk6hchwmVkmBvw/xT+poUgTDvM4qQp0YkIHRdlMBdB4uyfPSXde2TMjnCkJgl/sXiqxugF2uNEeO/bYQtYHgHo0gWxWeq35NFpEURssV5D+/yljrObvUBi1p+gMqd2b/c5gxxv7UnXbpH66dsDeWZqs8o9A2hWlpPgdTiRklhYpjdlS1oZ6IQdeQMXu9aW2pqn7ne7flQOODbM00Y4yJ/TuTVT2jephMAZj8KYdlrTJzLkOHbzLlvTRpMI20JJ9dhcj690iqNhm44PLrPAH/bh5xcS2ugv4Yi/hnoRU7FnTbby9H7zGGEXmG7IEY7JXVy2E+Z/Oz9B33MGLymY2bAwpQ7fwqo1WMgygL6/IPSkL7JsC1cX9fZt4w3F5bRImRkiWkcf4fGHO+MsPptubm9TguBZyoG8gvX+c/plv3PqqplVmyewVgsMuoQh1ejSjgG9FnQgeWLVgZ58lM/QzadSYC3TgIokSy71HWD61cPrSreL4SGJ1mkVw4ZZzxmTN8+nphXA22OoeWJCMr+OERRJm0dMUKXGJ8b0VVkWGx+5hRadB1pH/8H8ZovlN9IiHsy3JaKPdf1hd2b8VUZllDYPEPE3biWfNzndabhbk+3hHwXCAcJTFm0kNUsmcM7gcs53rhUsfB23uXJrHCpNa6M7blK6OU1ieS7u/a6btFx6BAYB3D7K2WRYqSNHkRKqccAY58IKIX9wazUn1Leks7fPSm+XwVTMv+PzxntB1mYH4+IM3LYZNTmSAGc3w8z6rBvENPayS3/2ooVFa/7g1rFhQhTl5Xy2N+8l9GjUzOwPmYF9lzbRBd7nMW+ak47VWp6/Sn8HMgBDjU4oi0A7ZqzW7oAYYRsU8SL6tRD4D5qd/ki1xnYoNEtvZPPoZ6Q6URQvaTJ4GTmXnin9Ad1zWXzo4H/HJFLa+H3jKvDIPU/jxIv/CnGfqvAH6n9M8C5NZsycfw9RP8bSSeYQIxqKmoor4ETR4tP+0ME5iR4tI6HAtxccS8V0COzH/hzkEcuqB/JZlbaBjcnYg50kdRBtNDlt5ZISPkGixyY/CZca7qTilqCiJ5HQIDcmz9ac5RUmmhTn8blUVYEPj8meKAG48gUAn3pNmhMqfRiKAxk+ABbP3rhABbGYHFpxosIorgE5nw6AEb0pqxgD5p9Zh9LNgN3m2ZLGHq3qa4VEpQWmpmQwOh+UPmA8po45JHZGmSbN/FWg/DuOYWxTrhipXuzyheWXHsqgz7sOm2bwuyQs3UdQ5MQD+gdt9pad3P3Fvnpli0pbHCQ9C+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04800" y="1979930"/>
            <a:ext cx="8232140" cy="442087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55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e Income Trend</a:t>
            </a:r>
            <a:endParaRPr lang="en-US" dirty="0"/>
          </a:p>
        </p:txBody>
      </p:sp>
      <p:sp>
        <p:nvSpPr>
          <p:cNvPr id="6" name="Rectangle 5" descr="Enter Chart Description Here:&#10;&#10; End of Chart Description&#10;DO NOT ALTER TEXT BELOW THIS POINT! IF YOU DO YOUR CHART WILL NOT BE EDITABLE!&#10;mkkoexcel__C:\Users\david\Desktop\Apple Data.xlsx~~zzMG_Chart9~~ed91fcd4-5256-4523-b0a9-f77d7dc18ebd~~635997036069977256~~='Quarterly Summary'!$A$3:$Q$3,'Quarterly Summary'!$A$5:$Q$5~~True~~False~~Falsemkko__4HooU0THZk28POP9trq+pbTvvzd/gcV8t56cq85kb3NDTsUhojRA0EsgEHHMH7oYP1SYpn09ysXVivguJdhTvfyVMsBLTGvcX7WPTor/CmXaNv5MOTLr3zs9jTduarTUJxj5lK9t5LYQSxiAEkvQ0YFcykJe19MrSxslyHq+8+WzF2cDK4mdk4R56pG19+XP4ifBkgkBb0BK041XNKnTJIpLt4z2GG2MVCYsAaVwHH1Gcx6pCwZXbphGHJereRSEwMWQRaAPn+9XT6Jf+QW19pfx7WNAJ04hiohr8YSiuthqhL+wNO4QO8oxue2CBtCsJVRX71Y9ZFo3QoUzBdfk3jLlcx6bT1PkL+HB0N6F1UBltPUOLTFgq6cRcl1mAK3TqFaHcr92MoGraRbsaxhMIeZOsoterJczoHG0jxxakn7xRckTckSadobk4+xuo9eIR7Rbqm9zVov4DcnOJA6RNB9k1o9kNFXfVonqk0H6qd/qdqkooxRZJcDdATzfac1nwTkOfUSJencwv078OvmXEeIOqYHu4NnXSYJVOtoEtAhDNku8sdUExPpbKHjKABItl1p3VDagvvXQfTtVzxHuk+v7HY4KxILpb4K170QD71MFSqll1Ab6fVbJLrNZcvR+IGDY2HpBD0DBbMJwUWUYEGQvrN1Zc7igLQQT5j0aUyiEqkJh3QAQtNLEdjYbrz5p651I4vMCSpmeKmHcZrqt0N1hiDZd8bNUT19zPdqX1lCNuovSVfDoX/VMx/1zFxEElE28tsR1r+UAZKQAJvwchh60Np/ccPQiglxCZRPlwO+YYLtzewml1Pridt3PSpH3eUh8F4M2TJNO1hkcsqtzl2ujcScpd0iFvXrT3NX77OkDm39hOzF1KaUPnAfDd17tLzIvToZ3mQ96Bn+sr6Fxo9oYi5jKOZZDv+F/1+U6xG5JpDtqN0UnU7y5m+0g0OWFEjCGXdXf+NsVQttyi5Mr9iGF77x0ogLsEo7vr4/CLCDNg2WMwmY6ZrG+GB08IAp9JXA+pNaawvISMj+qxZXGll+vputq3iw/e/o3BdM7ToKCBquXFjC+Z+vRXgJDoxEsaFsJgYVMUgWYbRd5JJqnH4/NE++fArmVvjbCsjezK7+u0aopCpB8CZ8IfFoeFsjbzMnwMfjNDMvXR5DIRwfTo7g76WYnzM2r/KqZCG92QG+EVT4FEGYQjKwo3t4n32h839BkjlHZ6ofFzr8EHUH7W5cTF5ytFSpITK7hqw0TXQIaiPStiRV9UKjKXxUYJDi8D6s4uOIpTi8kLu14XdTgpNBbAobseD7W8kxFTRa/wM1UJ2bt1/ZR5prukKQN7xYdfD7Zf8tMf5mlJkiAyjLfnrg94tG6ik/gnrqLldmwK5sMAwXGKbuVWOZfwo9jJFYOcfl9UuBmgcCU+PDn9eVs4AF7FN19TbDW+37vz5Y0Wt75FqhSa4q2t3FN6eBiVknwOx3Xk3NlmdRi0s/M5naPq2+zUlsmt745OhOc/Gg7K37sZOc7NzIol22KWnMZPIcVX3RZLEuShm0ekH2eHi82ukkKJPjRRr/eS7VrjDLVae1+MwoKz6NOwx8roGMVnIyVqE9QCH01uERNgVXx7tGrrmJ53nx3ZoTnEASYP7DuF9GLLDSRocg+V2VPbWYN4ucv8U+NfEhol3ea32Y+D56YKaOSenpdznRSGyCL7X2S/70s4M1w42iCXAdF7MA4lFfn78wQXCU9sZAwV/flOvNJyUInBqmycdWbIMnVyI0uux2uZ/jKSeDbOmsIm/l+gsHK73iVTAEVwX/4VkibQSJwNbywKLFcfvriXMNGAIxdMbxOU2UysVMXgpcEY0R+QDJY83ewtyXMNNGmJN3JN8LmtOCuvuRWQxUEm7YEuxXJRNS67zNYTFLD4YCC5PPlRTR4gZYEhWKC1Iv39Pr4RPD6/aSVyxJNXNHM+0QMrTepY+uoSRxGzGn/xoBf+2L7Dadidw5mAP4Ib2mhDfHy1ISY02JXsAcAQoLIDpBMvJpUJkyI+nqyWcTybAwIUH2PO0Ow5N3ZJcj9LoDQC7xzhxM2hamQSDop8CwNs1LnkKLaT2HHRzPz0aruhb4rosri0/c1H5iORv85TliYsBYHFOKjkgyJmzKr47t5qTu//0vL3iNhAPR1qD1qXP/JklWWVIo/e7OLzBzCSG/JlDFzqVBFOqdXkonLh7QLX+GObceQ8d2JUTygOUamT6dvCWrB9XGAjlFUg2KpFcSjdLcvXxHE+u16acQat60nBw/zs/ulkPPRO4LAMtmPWtXt1/RxF4GJWQONcGRG8gJw/VvgaKhoZDqfzRL+ZI4RNNhT0kO83+v0dmzCT8+ISLyEEY7FRPdcmstX35DE8k4I9i8W91Ea4Q8nRrkq0YLBpqCY6NVeP3OUh1f1l8loPMMeGMTQc7miGoaW92MYpoCrN9NeJc3ucfyaDJm2BdDF25oZ0yfH2LFbCzvhJIM4g2POkVZVbW07jZz8yNYAB4ywn8E6deTG859f8HJUPymdF6BAKrVY0oCm32rmWCCHKsAg0UU0Vdt7xsRkuX7d/E/C11FVNW1gbHsYEwyL+khoyWylh+pXpHE6qjFB/GHXxwCPXSQBTtwv4gYOBdpYGu42KyTek8gcx8uTy6MamQrTmFKy6Y/xjkPTzCkluq0tsbJaF2Uwvg2VFVM6zL/kCMzBG9mZPAOTVftI/Jh+OsmtG8VZ1m9eRpgiYPWOCuryxtrgkL0RCJyiDbw1APCBdw4OCoucQyTCJgEeHd7g4EK3xsjyWiOnOaSTBS8C42M2E+a2UKJhtepN8B0Dg8joD1Qt1QY5c5UQwnFUInSoLnCSkfoFX4O4L4wfN1oVzVGX66J2iJ3e+wx1J2sUct11qWi7ovWji4Sp188UxINyhCTTr/exu2zJTfe8eD1Ep1W8h8xFJ9cEFNcUzGBQsjBBHX++fj6lzh5FOqK80wmamJRZ3orvvA3NMxNUTLQcbZ6rHbZ5FFwMhyCxilTaAtiuqHUDVRpv126TIzfe5fTsunOLTEZyRzGyAo9goiRnaJnD5/93AwaQb36g0A9zHOq2DX73zsbU0BHRIe3Cz4jrupNGMdkEelZ+9+xdtSz8tW8C1qv+5l2g02gWP2IajKKeYWq2qHpdHSXZ1Xib4QvkFG/buZezb538eNioXHY7PNIJqB+bRBvrN4bOUIsRnClXwm9J9ipxOPpiBdIZK+W94Cu/AxoU7hIzq87KdCkRgsPd7FKhSAZp049bYqBSVt6gayKMN0J8UZkE3hNQuuJHugb4rHR8J6ykMExkmJDzdJwsCYFq+1Eaw0SyaT7W26qyBqxW8K5ePyYSurOA+f85LShQeBZ8lettb/qgt1s2Pk6wcXUgTaQfXq8YQGisf5CX7nrbChL6BsOyoDEtfPnXOo8NMbcAIxuZCNsoLiRf+fDeXP9z7a+/U3OlDuIcnA3Fp3dsHvEhXxVSmDNpJcU1la7IqAsUN3BEcIuFLJSZM5+As/vT5pgaY+SPJ1YzNFNEq/ogRmPqob4UQiFl770YkMvFm4Gq4bBxjlIWDllaktDbr0gzV1RUCP1Ev7aNCHT0g0h4jbzATuCOey321GhdJc+AX2CC/hwaye1UUGo7wa5ZIBEpOrydzEKnNB04kDUL/WASRqE/7hczFzkF7ChHqUxM2Ul40LlpgNf41CvtR6w0OkGiDV0mE3vSNcCzh7RWjsM4dau76WwSwu/rKLVN67sUW7qGp+jZ8TYhCowF5brWo3e1ORmwBSD/OccsqyKsJ+4DOlN4J/TOPrHy2bMHiexDHnQFLZV1nG9l0SU85TA3OpHLNjcGKlg/3kWaWjYbVFWKjVGHZQzTLse0I0WZv1PoJq7kpn7Gg27KpDCQKBsqer3AxDESa1XzMfgdrsPmoQsSZfGHiRQ4sM101vQxwfUtrzo5hgu1WMKQQlk8MLZjv6eFuZZbFMerzy1kxuEQbUjD1BPoPrX9bLuNtgq9zh+GUDAMoIEXK8N5NkNSL9kwEgPDW0dmQ7Ewoxm29C2vOq+GgHLkg/qjmGZC+pIaycJOhm0amFSIye28iKiY5icb0NpSgn6DlyzXRKGMDAwS9Mbt23xOVrgTyCSiRVTGkj2y9Mss+avkPSYBR0tPB7aLRptssFVKv98xjTIXrOkftb4SWtU+HzrSI1nFRxmzGTDEquNKEgOi7Y7eCDmoI7Abu+2wqqTek5vXkro8yB2Lm1ZpLPlyzERcPmlz9WlfAD99zkYps9eItN22Yo7VUczxZoNMq8wEKidbjFd1GgwII9bJfM5AuCAuqkTWXubHSgJGGNMs5Sh2tAZoXFEQDFhlU+FLSJVSqtI8ysIC7zDxxNJsBrSqcKuKmkhV3xkFZD57eqtX4/3hEMjoG8PHfSCMc5OoIV6LxLRKUjEZsoUwhpRsOUXt/hRJMaNgxqV8R46a4XcRcgycBvGRPMn9fOqBbCuPVD0UU8CZ3gbn5LccOsYrpx9hasP3LI5YV2j0VGwGb5WZ2ynJPdXBrcmrXlIMvDrT29gVaXn1t2D9Nyp/kZHMW/IGWlRLVYfLoHHNeOYDsTNFkfk2dVJXJ1oGlqrh5Ajl+Qm3I6VBUIAiCFI7nfxNAlVp1X+9cGE+Enp8iFJKYqfG7wdJhs9HP9jIFSStgEs9CBEQr0+DBTgikvPvXqLjbd3aaQDdAMVTJ956eoSgNzJBkjj49IqsNIs4DeOjfSaI1nYWT6tJ/j93qrAOSKqGVAO62VR1ZKqzNj9pz8b99yql8vU75cNbeFiMiaHJmr2dM+8o2IvjNLEnVKGpe1EaFHoQdSBfphHGypslDZ08XDuFJQDJEK81BzWF74upj0en9TSeYMQ65J5zhseGLnGTAGgnuZgyLwKi+pKQgNzQlL40FWsMduvQbuKxpdlSYxSEIrxsS/dqjSX3Vs4yi5UV1EhpkHkECX/F4V3HjnQs1YEv6co88XIJavuFFKf17H89kZCtjnoL8aixN1yIop3R4S5ytiQL4T6VDptpiSe+Tr8u2LWHP5d479LYc+PS8yMAoJXLaRzBFgngj9cFHY74vBpZLdTMgCZu61hWEwZJfJKiuN2sRFqWZKHFUGNPOw4SKeU094GQMqJnKhOnVBsxY0pvLXbrLoP+z5H76uiIqGTHx42MgSJgY/c4upEemUHTFpb6f5TQnPCIjbJIn1iKIZ9SA4/9v8+5XrwYpUH8chKllg64zGN0npwD7Chvu+uS3tdYA+mP3i1Nd4c728lda1PDQbeFNQ2gz1i54AZdPjiB5migPklP1LOs9JPfY4T3rWoGMS306+F8VtmmkxcQXLEGsK19dX0pbpkph3/7X72u2SiEtKQKnsJ5h+UVKbAMpT7dDifMYIIVVUkp6Nopbrfw+cSANhRLxb8vMYbiR1HW0HyqgKFrO3NMjq37zmwaN2kpqY1mQIWT9h8KR/DGVK4fMS4BdBi15inmiDlm/mwa2PEE+MnjQ2/Vu+Ojy8WCkT5UbBeILjHWLQUrw8yLTLKCcDmIkQUBnE451DdN1E7JT84pB5LGYm9Evs2wMFG3tlWNCkvP87sjGqcxmFWZFcoXpEnSOpYz/e/44VFC3nSVRf7unSZRI51h1IWfNrQAOwvrmrNcCiM+3sHSIbZhCIvy2DABNSSdCf4mtgRIBWySbshipuXzHt8VtuNa2tgqbrDoofp3A26vseQkbuqZFKfVan4KwtGjQm+t4eJL96KuXsV2/eaRx7lAG6LiIOsSaWDDpYAtz767pIxQD9uOdCIG8Kb8syiHwEHlGFF4wpuYiEJ9IOGXTILMmCK5/lPZxbpLaF/5G4p/PQ1eeJny0oSZWHhn+Eq2IXkYi6hOZ5cNtMky0OEYGGhUiCpK96D7BP0DDARxWb5akBsk74GczBqdAS3EGLV+VBY8yOC9LvYxnc9kTROmRUbJEzX1qsmxupbCi6iqt3OWVZzCRACiVAsGYh7Ys0BdOyaR6iz1vAU0hOuEsWYM5D7hIg+u2FitJ8cDFizEt9df7tE2TKNBJipU1mOnaIU38X7Bwj8nAmnw7ZVMP0ZUvtF8ApUvewenJ9RK6hyGHGWaX7WcSmeJnZ7dkXvPvTbK6ec6CMSTqtb/5viWDeZ6KmxY1vSE0xq9t9TXdA6cy3JC9KYnNPoJdGT9vMrtVb6c6eTR4SENs22hKeYftpOU/INw3qJ9MiPv1VYrlnn5Ch7wHQbAkrre5XOFeZ2zL9lB9pK5qfEyIxI1yrBfSFs1x/VgS4BFPkTt4cav6ibeG99+ftDtaXwUF6glXxCh5ZTCvnKVt4a/qIZF9257ZHKzhpDMKlViq86QB2Li0wWWsS32AlD1hkkz5wpXjb8ScAqhIVrkSRz71woD8Z187RtPfNp53WSzQfhDy8RCMhpdM+ero9ZgnWR1dNzMTr0lgONqvBVZb0FiySvyiYj7N5gKcmOcb/DSaT+kCAFz4ffntb/7jkxr6o7j7jWCn+wt/IP3EHWq862pbeBdVyTQ+NCD29kMmxdw+IIElaYVZxVOtg8VyfxR6qq6vBUJNc6T23y2coYciimzWaiFTvd4RxlAJ9rVb1vrd0zlu2YOTwo+IvzI4lHNLDie2T/GgMBqemtRQGraJ348BE/zElXjI70Xar+kKdnQV4Fhamc6G/aIX7M47x24yRKzzWRarZ9IPAqE294MN8yt2AFKjGGRHB1LGT+yOv8U0opPG8qkwxGFDN9v7eUXzKZu9tYbHFT9+N4oOp4jUCqZz9MpVzuwih/HPjDjsuClzDhvHoWqkT/B4P81O+z+FWlipWt+NXsUDHda0Bm/zMKUcv3cbsD0o7sfIZoHnc04kERspH2IO9igstGLWVBmiVtoNrhHQ8DUm6ml14wu23s5/CTM4pBZ5fhoAVmIHv1StXSfWmAKuU8ilZtG7XBkH17OkmzHiUTZugppcP5Vny7rmyWPe6q+X8d3u4Q8et1CeQX8NZozzByQ6UGeLUKiw5SIm2elUh2ServL2xkYisHZ02sCvbEHXd+Hh/qZzhAKGhIkQsSn/5L6KjIpOZVoTJkqRYKgRN1XI5sgFQQxz3EpTozOjBZ5KnZbdb/7NjbuTLItS4LUsuSxlFAZBNP4gPjr9vKQH01zYT37bNj/0ChIibG4WZfmcmGEswurTOjUNIe8KTwRcYlbQAorhkbb2pkS6R1/AHpV65aI7gD8V95S4Z8bC6/H/w803By4kXC7SOVUNH02k1gxdpVqoNVZMApUHMMwiiP26U7GRDMcXAWfugD3aMiSkXACSDyu3jehRLswq9g7uu3Im4/aOi+x99WaR4wt0rnS6ohLB2k1NP1yFG2s06WlU+uuSBtbeHM5br3MEAEOEuwk37Nz7Q9zmfziq9B8Bb/KLkQBmj0yXNvkH0j84FgELLxnwYpTZHp5Ai9pmIvXAiZE43HALsK/qhH17LHiYVl4q79Tp2KRO+TZlac1YA3QT+L+luoK4DQUYdFkg8mXhyeTy70gyMyD9zAUxnlxOeTC0dpRyq6j9tkCwnKtuHrxFtyql3/Eo/mLWQMOi2LibfPUQXeQ8fUSL68v12xxEKLPQ+v6nQRfrNYzKrjOc1b7ocVsROvr7LtRku31d7s9DNEWrkjiisLMpeR+XbVY1Uk8O4i38RiJUSfgGM8mRkn+tizD7af7IpsW3LKd4XATm9ZCUm62arDJotnLo2s8t5bAFL7W8EH2azDGavYvzoqBnkVQgqHweR4zW74h307etBFrMw7iz55GaKYN7lHSL99ZxIbeRa4uqMDcly20tAmQUQvCscFtlJ+37EMUfCtAqpLphosLytIfOLaToy6GjZP0Oft6+co3Oe+6dMtahhbgVZotYrV7WwI9wIcscaV6pYPmCBydlB2x8kZmNzaePgByeI9WSYUTS5nS21wx08eWOtdu56fL2BaAByFSVP6L4Ji5INUfy5wUccZKgVub4YeIGhL5cTjCcaJs+mih+v210va9WFq6zFfIbmelehROGLozvKKY5jddEHhuiEmZ35DoZIx7zg8LZG3sqzmPHolRgvRmxSzH/n2LBKjzzv0Zm9qCEh76xBgKa8x3atQLI2CuEwbWSIJXkQ9riuN0Vw/oOEgk7NDDoKbQzTYYeGfRJKbxbrdn8jx8yM/CxcepbVZ9zB9g/OVJ/hP6FEgrti673hJkGm0kntTPPv55+Xosvl7x0kUVJ8ZUHBzjLCCr23bxftqdIam0jFoyLSOhKr/dnSn0Kr0tVP0cR6S92bSeO83G+2PWLeW4DLKZfbDjx/a8IGe361v2TfZhFppVBZUNiVsON4fBtwDs2ZL3kxuxz3A4xctU8cBzoBKF98ueaKxnvKqnitO8+Bs48gMXLR1RWWx7OsKK4JklfWt4qso+KsJo6VP9OQJQQW6DZlqmNBFtPFrFzfDTR3qVZz6JPv2I9XtIldizOLuTC5PjHKwg0YzTFY85daU69VHZkTeT49xwGeQuyuBYKiEzIuzJg+E3XadQ4puiFkfKNEGP0RUhQ8SSEMHfuEpTLewDHaC1s9pkBTu6Gy/5ojTKcuyPx/8w4u7us9nmmXLIQbrRMO7pM30q+aKOV5pnIey3/NukKOU6V6MaypL+cFhwLHle3+6D68bilvzq53TdBATaLXw+0CPoqn8ncB1/GGrC0lM3zcAk3CgW/8ygFgjNMNX4lnmtupCvOjlUvMhCYU+jBtcUZvz+SJsbIjn3FilsA7xPa5BqDH2nmTYD/cAxObjOnanROZ8szrpxxsdz8SbwTpbjjyUHiCqsdJpGnFvuWxMhHHEKK/REIMCY7Ihhyu/X+OUcaE9AdxnJ/SWnsqYv5VSfyPYpqH1/FzdfR5aOSkuz1X0mw2pL90c+kXp2ws2Z7LQbYf33BOQhQf9y+cfrCpKOrFsrO4LfcQKi9RAeokBcDfNBUcVa6wU4uM3+oGAvQHTz6/iX2GUvWHOnB+L5ShH7N3HQxm+pYn/lVKhViYK7M0pqy8gGh0RXn9mxgwXVB4FPUqncJGUB2WYB3xflhQkPnCqofYZ6cz62AiWeyJ2P51xP5HB7K+aGFZxvHcnvAwyKT4E5OzE6GLrtFdzlI4jmZ6fH/uhHDyjq4g4dHQF35tg2pq6F7YjyvAFAMGM9XTqaXeiEq0dXTysgJdkkHY46/URVxTdP8SSGIQ5PfDFAuCqvZvsK02qP0G6sTH6XcaTjsSQkjAXqr5TjH84bByjrykQR+7takIRqrpwIP1oGHirR1bDWRwWH1Nf18XRVKl7wJoTdN2T9/x7Fvz3LS3O6SqzNdovu5OMOnjhjxl7fQmaac0+O25kgCPG2SLt7lpubgAs47tmA2nGqtTTRbrYJvKwz+H9d9dGGqwVv4iqzcTtGYZj/R1ynsHlZmF7IlgirNlNp9txtvl3BaTO9PunYdZc6Y2sYngMc/b1sI2fCZmoW8edYaLBObxy05IHuFpFm/PYToiL2dhoT1vCz/nPxmH5ncOrRBDmPZLqZOt4zUi1umYRhYfd7sEgRatBf0EDgnSGrp+i6xEl/PLDHXs8kjaaB+k4s3fwgM2CM0+Ma0BlJtDe/97ml6vGd2D5g5bZoMTcGSo75PWSABZwJkio2d9LCkfPoZgdvb/dHiK9qxEfU9WCTcv33P7ZNhFdc+QNrGkyUXErK86I+oG49FmYhcy20WQqnyPkMlnD3elH/VsZ96yKGVsH/9DMobuW094DPD88L1OciQbWbLoXrgfglMQhcTM2FYQZgq2yPUtRHhIU67JCzkV8z7F6xRb6pRB/mqe8W2L54rxLCZDOONpJPUSkqHngfPU0TjhmOyuZ04iDHp1lcNIuIr3/YywMzirgzSDu4sZCBeI1n0ss10v5PRM4GRUw29YRyJ87XHgR67TUnyT14Ez243QVA0SKq7w6Y7ElumhR51y3DME9ibEvFJnoCdDpyB2Ri0Pff4glkb9QnDC3JgwK7kRdCIJ3WdqImXM1JuYqAlJo7uLBKV1Axbx03o3l39QcJPCcR0dn7hQlktVMwdU6JP/quNeDC2fodFlzG4N8jtNYqj+tA5v8bTF3XQTRwQqnGjKFO2gwKrTgV1cRAem6sTmepTkfmwWvwrEcgoa2QUUFz4tYwopI4TRLFIQXYkjkptcujJd4Xjed4BtWvdmskVdIMSgp6TKQSrq6p3Zu+OyNUJxfgLU8ZfAWY7gPvS/LmEGaWMwZV3uMIcFufSe/zBRlXYW2yHVnDkODHDlHQU3WgtejL/l0h+mBM3EMrG1tsyqngDiK7oQTD5n9JfgDJzsi70kUCnjqJSuyNbCgCJmbyR1RNQwYBY91jvN1YRffwSr3kucIZdHCDwHkGBXfoBfLuARzDi1suXcCVE/sX05tB2ggaaLpWOVrgZes0LzVe8xA0kF39zi0HddY/7AJGPvRA1Yq60A60vropiLLd4BLMtDUojgsc/08bLp76eixT+VRU0sfW/9mMbj7KwLuxPXBYcClNobRXC+0cZ83g79TOzUn3TUWOoxxBrg2z6z41g0vVxW9AqyBBZFyS6LQgB9eG6z1rGG1AWAotxfdejoE4IeWgnegLZwPX9HLo+47th7jrTC9dKY6WwtdEhwSCvOe51maKFDkF84QZWblYSWHZp5ssYeiyIIlPS1UciqUG+Bhr1CG80OKaXuNus3s8OWbGhqrag5m40ld7WV+a1bYWzv6birWu0Gky3yOqthld6VjZ9up+lfT9/iPXqB3OBKUywj9YrgxtIwL9K6+7AEMQkvXbNMHDczPhSrD9TS1DMsnKpVfs1NdXuBG/EK93lMRxKRcUJDwxOlonPYDzwJSjNH7hm17G8U4nkbADtIL/nOlPcpA6x6jtg0q2qu9maQ+0BASN8WytaGqHLJGWSGotdyNeGhNkMRn5vH/pLRVVxwfSUAdvBISaVeqfUUlJfsz0m5MAfGBwBtgkdig6kUVgrAka3vi4HD3WOu8DeOmyz20PBh+netmo0Ik2fq5v6OwMI5c19Oer4LRqfw6UUql6J9RIPtWRfwJKqAaIOFZtCtPrOWPxDx/ZyyatuNSXDIlN+WQMdJYGcwmO4/XSwuG8F4fhMXVublEtCCHh52suNwMPH8DqweYNwh3LhwK0RNLmW4IoSLP8AMmC7VF1E/jDVk+OpDygLqjYkyjsDgI6BNHela4bAICk1AasjPK6kTTg8gdP7NZaDh/uGAKtRojFQbdSEBegcXaAQn/nx6MBJS+lloK2ojF8lUlwsvJ7DvCdp3G3Shu8L0oShfbFq0fwreYBSxKZp5pVhdeDQg4NlxVDLbRd3eT2Ol7ukvSxTnnrUyMjC7XW8oauIDOVv9R7zbMtA+NcoEOD177XKxVdas4M3AWzlO5V7l+lrmORtQ5auZZVKxHmvJF7TZB7J2D+Hdp/UnC7gT//AB33v91F5a/tyC50sC/pXacuIgXF2Cmmtl4iAfZ7EKh5gSZ8SeqAxMiTWi6pKbqBkZfy8QRZPcqiswOBzYpGwXFX9MventGhbI8bQcESXLlgs/cZfKTaf5kC1hZ4TatAS0goOACh9D2etvRCrFTN/cIEi0xRAoL8AVI5k0nxUhVB/ZusOz7BZMCjfjKAaxfoI6oI4fsESeUDX83e0DKFM5ZcP5qGaaAT5UqxzrF0qSVwrPx+A38OUY/j+LAEvURSHk3WkRow+YGcbIjX/VedG3lNJxJZJIKxd6X7jDiY17klf6gv/r6jVw2LUSdPyy7ASpyjJtHHUuNxjZOj/Ar26W57gd5ZU9KTfky13pwOaGQd1ZgjpMqtUqMlGIphIpZexrY85yme1aF3x9e2I3kVSETKlpO/oQna5GWUlHP3oGGwVVwiaMOAnYgf9jgJsTSObVvVhQvfffsUu7rsrJE83YPA/aPtrp9hc7ki/5r/7HFSIew/Ybd10THyXPq1fOfAlqjvC1Tvb+dJAsEiv3SmBcDqzcsrC4tMloCfOG2MiRPU/lZ58hRNome1L0uk81gsVKQ/MbvI06SZ/oG6eXFPg6ha70sCVDGmTvwN47s4FQZLK3WmGrSEDwfOm7Kf0FlnDGQspAFCRydKhdW+1hLe3oexFKhkIB4sAZ65yctsuOasMF2LEeReFbxBLqX7Jx9iUQ4GDzvsyV2QmT984oygmJt83X0UOBKuhd9jRtNViwzErIHgMnrIFbeV9B8Eh0HFg1brv4UhrYR4mXBAtBpufqsIDffH+7DlZX4mLcEY1/HTXZie+TW2e5rnH0Lq/eSyyiH0jEvel4Rjrgq4ajMs9oJaVfcL+X56kK26Gn7Q1hs4LmA7VIpUBrm1wL9Ny/ol+H2WG/+HoOODJIGZM9TMqIIqBky/Kjm5sI6Kq0avy9H6da5wtj8VHJihQfVEyG/NVNTVQTn8EDIilux9Drox0JLIUXqF5i1OfHEUQ2H+sGN4MjxuUEnxXsBRzQS5mWR+tx1bIhdNHlTCkp5QzIVujYCtrQTzGQSRx03uy4w4CUbe99YCmNB9qAGFFwDol8E/J70jsho0FxfXgYsgzWX3CReAwlbYc0EtyWZnaIZUdiwvVYzUKiTgtLO+ec4kWdh1ligsQk2iWXNdbChBM1BWeuEsY5cFi3KbuPgyexnl4yQihxEGsMVvMfTc6rVQI4KNmM66+3B5giFrHQud18p1nN2/Ae/52B0rXiUEtUVTz4hobLIr4VE9CNxfMGKNPEDbvPaBTsFbbosMItMOE4EJqAHiTSAN++LY/Mg2JgiFkoDlhZv65kXRGxstoHxCuoyStpWxpH1mkyHhdWXmrIhOEdxsTperljvhBtqQ7IBY+J0leHzoYk+5Jk4E92ovyIChDEnY+KZ9DptvF2IVRkKPo52mv6mXw28B644pDbaDnuY6/j+f1Fd97dHJ42C+EJgKDAkzK0NX1i1waDqD2c3biUQgdCVyaj0QYbikpAA5zoUBAHInjZJrqhB0udE3XRzkCtRw8WNtOoVpV9kIj7GPG+MBB69+eS9s4QLuA+Q/OPsvGpdoiqtBdJl/+RdutgaAdgmCbTGJITYu3I2oR9jNh3mILS9lgGwXOyPFceHaqoQiFOpAhg6xnSBFzaO+XnWMhmvWCKYiMS1tlElbEMu6+avfKmT0ffqTuGdEwynIl/G0T8Q8ARHXlb6s4KMuMG7MmOvCIp7skGIc1MX4Zh5Q6I+c3JCTEbjr8EJa33dvQoCtwMWg3O9AauIeWbHs0uM1vyeML7V5NZldIHSgg2uYVMDTa8skhYcY24g9DejNmsSodIqQrF6oqRxbyMq0rizSAxEIJFkTleyeIHPuvQ5Q2gRcyVZFN3LEn63dwplZaw6XMAtsLF8sgUGF2smMEJSO4pNxjkx8Kren73QLst8GcfWmyuspJ8i6HLJXT3xjihspgRv1JXBG5ks5GLoBt2mrTonVZLgCHl2FPA9RLzhRwdlFCPz4VPU+cWxGXYxXQ3tzB5w5Ks2ET0eXvx31bLaP9YSKYjCBLy5obLeUturAD83jI55EUnw4tZsxSkD12odgUm0XZmgJ+lirdF8iIrJnzZ+Vd8jEjdzUIv7GVnP/9sR81HcwyOWy5Yvl7N5dB1OSZuVUjFkNDrNFA5fJJW1myjXrGsd/zvqdCu167ScJfQ9gtvStPr7SlWLNXmlMvPHehuay9DvOnPS/Nzb3L78kDxjtZD4yL6AkHONC8so470ViMXHybS7pL+FBf+4t/gmN3dlsfZXCQKb2PmYNC1SWu53ecU1KwFQG6cwl/HLWRwNyKRKkFOBqCNxIx563ml9w9n/0tD6eDPl49j8z9ZjswumwdG0Luet2YFk67KTDXrPOlxB0fVgrCWYfax6f/VovsvaatQGl3lXPjm/JvN6ULoPrVG0LI/m2ga/TNUyZDGXPSksonF9WmNdzIHf+8cFYYfTFcIDpkCQgepoPKvtDEcPARyLqyJihFXJfz8vfMtaIUG21QFA/mm1OOckZPlTOYDa1A2elUJV+dvaCO/HltMXD8tAfsV0u46eCH5DCt9BqeZlZ/czYTtleKqyjaj8E61XjJrkIMWNmsrBNDK9FdrA/pP25J5suyQi2GAgjq6imh6O9hxHa8nNyJ3khux9oV9KzGFlfr/j9B9mhaqWqHN66d/ounjI9wSABpZ0AMD9qPcYqi5SDCNNZYSHzWSj75JP76dISBlXEpHSai7H7N5CO/F9yu9LlAENYmgCk9qLRtui09hMHP6/Wy4x7+2bg4O2jB5QHQv+KtvtLxprayHQKy0O048hKULApxmJAz5Wc69K2KqyNgjwmO51VugLpvauPnSXRrUJm2Q2Aez2p9o4uhQ22grM8afvLA+YLApkRWitnYo4nZFm1ncCH9PaYjj2x6VtOGIgU+XiTVRDk5pR3FWiZ1RgcEAGFThZmCs/+Nxx6Ful3pE5+LVrYYvMd8vmqRYXoEOHwqmmXXgJcYvR8ZAIdudapLZ6JldtlgAzWGrTCL2WqCy7kDBRQi+KYDqsMnGtRRbtXUAgaHAxmyi+LDihVjtvuUyR5xJSbYmd/9dt1GF/WSn+bIXKsflJyWouPNiD3pQc/4qbMdTO7CF0ttUxsDD7HN64xVqg09ILwcqyGDPZqLDlcyJXJY1KxuYm/Av8c38w1hlS57PX7UdeFt1f/YwjET1dE5LwjTRZHPPPJPCwxeO1+XvVJqyHmKXvPJVtrmNjR2Om1dnso6TrPASiklltUOI5gC7+2xtf2Z/bwWDfR3wR7wgAFWTRtOYpwOfN+8TzmtZPClY5J6WZ78TsyecrQRiAO/NPaNQ/coe6/mwSu++cAf1pSMhmxoeoK25IT8Tp8yAolOKkCymJYCh9a9lCKYHuTDXMHSlJx8EPGXMHQ+uCz/i3dOUw6qzCHBX0PiuWP/SzW1KqQGlqQU8whPodi42OewAhQ8fDbEnpI92gfrf5nuSybhFa8JGjtDw2SBw46Kkg1o9Y9DMQnfZNHpsQlvXkn+IwTbVuB9piTH71fKJurVUX6gTHtWCWJ9LW3+WksOkZMonpL3nmP2ZwXfm4sdpqLO8yeF6QRz1Zn+ORwtWHGotftu6JcUTo3K2KNjK/bgadeAMliO8svDWvXlynbkkchwFKmE3nx0r2l6EkAk0kO+ppXzIUfRSo8aEonW9+xVSYwRsVPp9boi4DfZsDcSEwXoJxHDfKRV5OdbmL5lxlTd4K8dmcoOxkrGp7+8euiUhHBvp8JjtSF5eM+0jznB+7jMarwlhqqgUY+pPcyBskodwhFxS5yANXfPhXOzbEUhwaGlMJ/87u07lSL4xLFkPx5JV9ETFVWPcTazl4MQvh9tTbKsFzL/KJdqkWPZBj5EqGp7Ya5+8Ap4vuH4L1aWPompOP+dKcQh5RoudHp9tkAo4GjiCimlj3RUHK8pRYK8cXCVIXgTCXiZH4llcL+vWWsuop/k1WAU1F5wyajqM2cZOOz8jj6qxukQCFFI74MwJ+kuu5er9wpwVIz9mRAj8kp92eEZDhCd9uE6TJtjFmc0jbjspguYi8FuCKyVuuTqS4NsGNJmT7WpOfCi2R0OiYH0uz4g9A9EjgZBRB4cdFabz93H37jcxL+Juu01mQlMLhZrx5BJ4JHcu8+P82+eFKM0FM0/ML0mX4E6+sPokO8H7aIFeW1JyhD0vD3BKnGjWgeusUMEBteFB66veSVZEtLvJ6WeFFzq31T4R9ZMSOQqxLVD97RYiwUvBrufhAEhu0vLxxKbLvr1EIwERCyytujZTX6aTrCjXjW/SFFwWpLj3Fb2AHP1iSMjx1sDd9TFiU2ObM+U33G1+S9vMo9N5vKLFKZ721BCJ/cp+QeS5W1vaTDuHWiLno5SKg26ivQysgTTMKhkV1VvFEDrlqKquT2T5akqgIFkyD1kguGrjgiGr/jLO9Sh38EkbOL3UAFJ4KW/1SckeZDsxbrcKjMb4SYOonrikPCCHhWp/fKnYc3y9jUselxXxYJNplbr9zjgDyZlbJrJ4VPwYzGiU7cm7noAV+RiM8rG8d55+ZmLp1Syx7u34ixjlvNSPfRHjdDnLjfoVcABC7uA/ALWP86bEYyxAMI82lDz0EcS8RYd3/C4IwDfmyEOjJ7tg1PJV6SHUhTRFSi19ag4/n2N1egGGY38j9Rhdaly3HRHVWIZ2+K0sMxOh5pNUlA/djUAOZMVfs4TB4k6ep4KAtEZcvcrbE+SrfF+3rXKnWHA4GoGj2Yc/aAQypVbUlsXYncRQMgPDe8lAnW4DR+IO1sjb3+J1TXcRsVcEJXyqY4/NyiYzZ0CTJqIpNUwiJB2Spck/OO9NSrECyuXYfpTFQMrV0pt85uukiKZiPTv7fE1PmDM6VYZNQPjCax2D8PTjcCAI8uW5r35CEYXimLQbENw9h2Fd1sAtK4QxBrbAbjDyBE4w7JW3woERlnCKkVc/F3F1RztdNC/fEs5RpI4gPCMJl/4eUZYE/5OUK7w8GwUrQXYY+0rCeCv4tO/XcYleqCoj8jQ786n4KiIPa8oWfOtaTLIddC/SD5hs4aLKbwtye8FG3TC4PUCNsCexufTxm6DkQuzvi9k76m704azwxj3NHbkN5Q9sWQow1E526dkEgvl6/Ujls0FJ+s2G5DfPX5lp2M41MY8ec/Gspxqz1uhDrqG6EEJVitqwy3M26dgfzeyZXqjTXuyy3jAJc2NKFmiXTbphnCkvUa1tzyBeX3Fm3fQlGLju0v2Thcc/HfcKcXgainZVKzUDB7wQrohYazeezcMfXfBScpmoSEQI63FeWJ2RIjDse1zgCWjFojKYiWRpyB9QwnrrBviwd/dtJj21aVRbQz63S6sAncq/ZDMt/achyHjgd2Fhwn7QHo30Xn0s2D40qpVB9oadaphbHhYgnnx/Sgk+7LlnGBFQPH5r5WtNOyCaqL3ukR7nsmNbf487BOc8JNfNpB5H5Xm04+3LyhmWZfkC3uyjweb0JcQbOPvlWovzVYUDy4eKz0MVmR2uJLjWczvUoMgxyv2T1trkYYahxAy+v+n/DiP3/QDTOE/YUouGkmuNinHNzhHf6tG4ona5DvSVSkRcOwOfljvJ6eLcYYlJbcRwn1D7/oK391t8kaqOVw12zqGAUL0voJkL3tWyTz40Ii+xp4bgBu1cATvFVSbSRpC7/o7VRub44wO5M/ktUV7UjvcNP0+rE1KRmLSX2H7xPXWlZx09C9TzLoP2QY+KOSyIGaf/+Vb2r2aeulqY3ofJfpU0z0dAN00ZdiM4bR+qEY/DgT7ysqpqL/XFV9QrY0XTTRJGMlkPwDmUWFgp2k88IxOe32V96nnYK/UKHgGzr3V32yvpR9Si6cPJRR5R1L/HmNGvXebHBniKy1yRelhX1HG872MaxEr5k3ps7tCbdps8015uV40KxC2/F2YifGhnjXJGA7eEFK1TWwS0d7Tm9mJ0maB+Ee5Lyl14vsJNRShwQFRWZC/3DkR0M2otG/ipCh5C2/E+P119gSnGN+Clz28gzkWkjjv350SnsUlFxkvA7w00AccJ/IbWRPSanDOazrmnZ+g/SVRXVuqnQsYBrZPt0hU9/kizDBadtozFeKuMs4g1dWhF3kZKUFBoZSTQHYP6htYH91AOiNii0dRWLu4xk97QumZoEZRdC18/KIqhQg2gRnn7vHeTS9J23hmE7KvOgIhr7ulptf1mgg1WnXAG1jW6iuSJc+wsiu7KRxudtGCr2OLuipavH+0hAyQL7s6a9fkr0k0pbHngNumr1MrUhVGJhRXnu2Ewg9WlPBUXh4QqFo7lZt2g3sazbKqsBYnBCOO4TDHg/8+fqmRw6RrPe0Q98WP6uqSZxuqgjt+5gpc4PkXvrgSgbdKUv0EipJcJsKu1w70ZY0x8FwEBD93GyU4WB1FaW2vJGXEppfQGOO6egGvgv2hrN3SY3nR08a1Dhc7RYugw6mtf9vqVug2wUBloodRg1xXkTRHh4hugCUEqFMvfKxj5xfOZnCRx+e+hAtIfJGCr6rj0rcw9GzBigXBZWB6SId2Yg/z7l6Wl4UBFZ/lA7T4VlzmOnXUnomr/c0smik3obnD3pFT9s+GVxZOVyGLIicpwvG6jE8T+WfKW3nsSnyIs2Y5SuTYu8Xr9WV3OQ9hVIA+Yb8J5Gvnbgndq6j8qtyQsVdUItlFRJZjxOpRkZxv1A0hgN3lyur7e4ejeP/fzh1nzm3CU3Bu3k/A2r71suRg/cZeEHfloPJssy3/eUvYQCTPRsZFBZMMh28y4xKN98CUGM2iUpcRTPUGdbj9NiIT3XzwVFqR1ioLrYZUP3uc3e5BE23VvEOIWddGCPmdP9CLVdZyRmlR2uNWeUtcegSfrjwhvgpep8XMFLnGQoMY9BshvSUvISmPxtVw7dw82ngvoaoMLGo69VRx93aF54PY+qfRH1Kub8QqwetC2+ukVbQ0dNaI/AVL4+ngDpSZMWOQci+yjxstkkif4fU4+vc68QRct9gIxPeLrEn9sc6h/YCaYy82LQYbh9//RJKp3YQCVm+TGBpBukrlEEASiv0MfpLVKuf8Hc4EYlNU/ve/wUx2qQfzPplT9O83VQ3WOxyGYkfeKhtG+/IE0Urcc0VTZV/4Q9Pa/H5uiwESSSnD4j5DrIsZmKD/rG4AGChDV+ARxkN6gvhkam3wPYACStznbRo67A9p436c3B/jlPAjo7qmCWmXlVt9W4WGJ0bu8c4+g0A3gLRN2dbwTsMz2Xqdaghh79pGVaDR7QtJLbR0oDKPuydGKI7jjf1OGjvnzGyqeDYVkwdAC7iQtLJfvQgNUp2GP3fTAvvxEjLCzmUWi26BhXkLzlJtJ8fj1Vjb5jZ2KF7DRfp+mrcERpTngspBKGP0ir0RSoz8DZ6N27b5YTH6gvas0kx10Mas9NfeZbvDHL5rihu9rSEQZTVpgb5ZCsUPkKHi5WjYaw1TU+/Q3+2tPwGDi3UmkprKbepQEZ20CUSwsv70T6dyXsKCguzA9QLdeltpVS5VORo1ibDVqqtMiiah3vfdQTVGzfMBXSD+kLUtbJbl0R3YRBOu97SHZpqOLzptaWI9O+OjmPPIbTUiEKh9YPqYJ4jBvc2KA0QQuBPKOMXZ4kDxjCnM9F3dNGGwYkKsD2pgzj89RCbzVy1gS9BXDCNBXQI97YSj/DuB3UJmHcHQF65fWRKF5S/l8WTsMnNtQFRVBnyzoDhPg9L6loycFTVL0t5VGnIk3kECsijUdd0U/9jZab52sW69AXfmOoO9ZVtAB/tKNjEw/gTyBwTFy9Und82Raz2ard10S/ISFxhTLBPD94ele7BKrUIbiLk3XsgMGZseQuhVMg0jm7tObjjx42M+B85RV2dybNihDeKaK8Dq+b3H77Wex82w552Kwmxszi/Kn5tiL/Kk+O/IcJAcOC4KsURphK0shnpVCfP9Cw0mbHLb4eFpDJ3VmvVcQ+frZxOmEi+x6Xzv6Ml2s1L7Nqbrsykjd+LN9CKS3dvYRFXCTkOcQYVEw6HWThLkC5GHdgH9N8/1V40ovI1NF7hqEpd+GcXKF+clp5YS/pol6JJrmKNsTB2br68QD1K/1ure0SlE5dT8+mDQT7JbefQ7RLTrwGiyRKLGK/qmt+sGsGLkuQYqb5Pjlnfs5TFpwYanSSmc14d37Fx/QolJunHL3zihWQ2fcccPIfuT07gjG0l1K6SMIGT2SJbQco0UoEcAOhjp0mFkiNpbAKHhXtFCV8buDzX79QFEHtoA92Ju/X7Jes+ee8nNtVqp3a4FnlEuosPiEVYKKibXpJfNdAO4ZO0Yi53kz4UDmkX7NxEUOy7pEfKr+yOFT9E8noCjnwh+R2JjoORyb2TcxqZHNbXoU1zFbLseNVjE1PErcFuuENVCIfI+z1paYG0Wu/tiOT2o5jVHg3Yb5/kuc3RK0N6nam+0HgtnmhICEURL3mgweno+mU/woPT/XP1FI6O/mz+MHCqvF6z73HtbLHUZx06uesKnsLFgl5em6hNZfycESenEopexDo1xLCnb142hQx5OIraRxfwQi/Hw2lkYiHuey703BKotHR2i3MrNCu72BA1OvQR4e9cXkpsbFvH6tbxyYV4f/vGSYOjGD+S56SccD+wvnMZDBkz+J+v50oDYLj9g3WL35kWxvaJeQYvZ+GbOyOCCqpoF/z5/kGEi0ypzCdJqHvZhaDyXXCaHXY4pq3ssRSMb2mun+zOv3Q7DBRpQuIyZeiFzmBzdUcgjPkDRQm4hU+KI7S3l2HCnaCyg5Ovu3NUmXhnLHwjM7ygod7/hHX0oDZ5UfCRZZ5fbWJleuKaufGziigluSOXQLTF5xTV621ynCb0Rz36jL4mEP/cN/hkH8lQInvu/FVM5wDxSTm+qU/4bolA1NPz2tWPm7W8lOQ1LSFvPLJSXkVZhBOd+/7a8AFRr5bR4zG7c6Fep5DtRrOv9u2EQ/b3Y4j/nQ9NobO9PP+IpimGC0d40XruGZo5Ai9q5tfMNZclxtrMlQ7RqAp1u2/j7Qd1ylmedAYuHgnyDyhg/Ekz6DSHyI6eduNeoFC1s0Jdr4fvMwX/GTvTUEwmJLLom1r4wvWeR4QSqb3NNQLhusz4cMAmc8ynTiGeEX+Te9AaOQjX5/77oATBEOy3ci2IJfYZIVUgrysIeRku7b0Lm21EzRJ8EblG8sC6vvTfcG9H+bF/i3jWqITM+xvTubWyeDzUMFa7DoX85sU5ByEvotjrHbAzJ0g1+Y8K33wiqOlUfje/U1s0GkX/DcsLhAo3LDioe/fs2BfkSHOyrptT9/SQb+h8yCg/O5DnHeJwfEjmPx6gHg+8UIr/4ZmQPN7SyRAL2RfGLjyR9nCF5ha86XaMwRYgc9ktBjDgzCjn4B0vVBNTqZ/PRcg6hb61hW3GGcxrGs7ACy6XvXiiisshec0MuuoSw/fl25xK9+khygxm7D+FKihlQcwuH3B9x6z+BVcIVFjnVOFCETKCl7DcOk/pnw2F26sxI2q4lamePGJsBKSpjLKQwyrPDVqvfCbBOjLzxIpfjdWQb5FkeCpjVHfSczKtbhpR2TSFxkc+hRQGIwRLDMcXxjq4T+HERhQTfnI5/nX3WMoXhSq8tik/DIL+RNB7M5UM5KBjXDj/9lfCvDwx2oMUBudSo7nUSYIO27vpYf/FblWeLF2SHEzMfjFXKgHJiwXolZPxVxRR0QlgU6a2n7BX/joXPMM+zlkSWQuY8aUtLo5ihOK15Gbfs6G01iuoAfkX7tJ7x6ND6ktaXJDAqoHSJ8k1S3HazdIjkM0Q214IiS9aT+eZWzroGcoEny7MVF+HrH7LiE2bUF5F5yuG/j3in//xGFa4XABHBBvoEhBaZwPm0G9g0yK3GGxbyUft9YZxsoz8LcHyCWLdUoqnPGUhZtNydHWlJxFPwQRkmsgs4CE5w8pdMXEPdoAf87kx4NpwASOYExw6o5dTvRRt3NbCx9XT/JLk42pLFeM7vLm+WBxfruoL1iwGWf1NQwiZDNcVuRCMiPlCJB3/kfk8xioLppKLay/xQFfdYcrgiVESDnmvPpIUu+m/AK+3ue5MsF2Lc2AvVSC9PR3xcalTW4hZXB3eTa2DKrWTP5QiXUkF+qUuaxTcY3qC1EyTmG1NmMQCRaSCnPeoZNEUJpvC8/mWpnaSlpw5gZnFJri60OKOa55us53L7OCdgcJN4j6AdQS4XqB9mNiqCTLybviDp/JPT+zZhj6Hm24KqQuhOXzm8OdakW4KCMQP1runvESrZHRXIzGP2BJLFbbT8v0kubMxAVk1lzTUlUMUCfLtdcEe9M5d/ZyXWKqnJ3S4HqgRaRElWjIllPizTgdVaUb69IzhCiVhbvkUwmfxu9gac24Dog+Buwt3QQu0ru7t8+p4RN7X7OLzl0O6PvE+e8eyfYC/U7eGWsFh+rVuAkXrqktbjkqY9xZGToRQckH9eY0gyx72fiZlM+68vKmwC8zNx2uorOSGsQ/ddIt81KOFMg8nuXc59ut7Foq05znKS5tgJLaHjQogEXrs7XxDp1YmRe6pGsL9jTYyEklmvczGqBN9fvy3Cak2Z4gdDxcZdhD7YnKE4jal+82Dfpzl710xi7r2w3npOdJ0VvjHk1IhCcRtCJ6nPm09gHZcLGayPdNVu+BQ49BsUaPwmGxDKzkKfz9pWw2DZE2q4aFVkIKriucFGul3IIugvi82tM7C+l0aeD+wvoeL2vszkDhgEdH5phjKq7y3Ix8z2UWo24OOnKvR6LSuQV4Jbp2jaUw3wQHyZy1DIQxTJBDNUyXjYTG+Fc19SlsIzM6KU/pqvjqB+Wzz9CFi/aIoCSyVU3IztZQ1ZOoff10l+1tF2wXWHrdIlpcxXEe9UsWS6bgroWX55rAHYXU88NGIld+tzRMIJBYUkHpOlYrHV/Aj5eYRTq511X46Q59XwL9D/+SDJRsAZb5Axv3DJutukR34GxKcwcc5nbVHe8nxycd1B3PemfpkNZ2BzwbGkxdC9iEYMdjqBWO992aXo4msW2y6q4ctyH7MmNSWGXsC47lFyxszXVh3pVwRwEjFzBW/dbnhNPTtD/Y0ALWSfMi6EbYOknqKB2+n5rrSV3tWIvmxUCVcnrbxwL/iNQYsDNxqsaNfmbo+WhKFuohq/IIHHpaMDfGbwRjmYTD6XLOt+aJN/ZQDtWSczBTirqDepeNjSDPxg42PHLoicXXsvnC1JZzkwZRS2gV4r4SgmhsdMI6EZz4opWmN8QWH27QID1OREBGKoj4KY0zib/Hg1ECFSr7EDriFrkZpdVGI8n4F9ZzaFUYDsPUgzeHQITACGEG/v3sDguO2sZ0UKZNm1obme4pHTdbLWpeBV5kcB/cNcWBSxkrNM1dwaHwtd/qaxRZKHy5U2MZaWWG4C74J8db26QaEbX872jYeEAhwlWZdZsXZ88qQco5b3qDxpIFC+xXJEKyVJiBbcfQ5GqqUYoaUys4IVOYYSuBiSszFR3KmgnGXhr3wjEgu65yAGklf9zsC1zK4erCp3i5LhIg8qYqUVZo6tENQ2e7J1xwqcuOwyLlSWnwFbxH0jxeJQrEyr6FrahV2oB7Vq2Phw7S7GglIx8JhPX60hz1Z43re5ggnnYAzNsoOwivGWtqD9V9+CxLAyRlmPQWCoKz+VM7Velk9sLaLdqJtittj2gEidqDoJs4/3iPuBN46Q1dcI3mB6/jLwB6qTi//rdDBwvh/3udhS/e5pFGoScGF1z4G+KfpQe0TZvEAeRoH29w00lqdGinigDIi8phQlGGCrq7BcA2cp6AasqV7lX3A4pk8v7/H0ejGblk9oN7otjPuKimhFXyBbBQQIeC7hyt2LGH1MP6w7IIw+gvxgy9t9C4gN6RlBwrYtghkxlOLNizbbrGwDRI7a6UqPFUIx+xs+2LOFjYs8absYv0X6Yqy2ED0wwSXsFUPV+To/0nP6y/rK8jgMPaH3e2fLeQQvUHovVPfi2zI0ctNaijTqhFlUvKsZq0OVZIOEhrlPtj4PEDXWoNKsC1r25S6+ddKVqssLwLUEh5cRdrghb7G8lfuM0IWIef10XP7GBXaAjCxf/EfC5I5LQ9Gkr7mR5tUalbkrE/UR0hboyhDDi3BtQEovO7MDFIVwgHt77DjR94RwM6UN7LxentFkNSmOm6z4aJmuS5oH4i00DHL3SG3qZOYi3gxtBwiDZ9av4CB6S/6rTg6HKs7qyf+CmUrtw5IISAdHh7YhVRiNmstp1fdaEyxT5+R91zwydtbc4PzyETaCPgOG6TGuMZ5h0Hn4CSeorvrqWVsDw/X3BGU1MUXKgYX0OAfxSwMRjwyQe0kdltUkgtZrlNQNqZVGpK9Jz6rq080RzLHcaJDSJrWfIp8UqnZbvcK9NeurG8CbvtBgc1UwM15SsDmyO8LL9wUVUn4Ylmo7Lw1d/gE74EE/4Fe0NtaeZhp+yscHH49g1GeXEu/3PZWULTLY347HRWBuTbgbpi3i9H846Y/SvPKHQf314EpnwrOccfdUZp2EZy94xXzrMLkw7U8vLuJPgQAUcaRMIjuSL+3+8KMUzPNXrpvcKMxO6k4EvxGhGyv+vSDo7BSb9QF6hjtDlj1fnpFZxWgnpZq0BxZJ1MV/dXseCYnAMebymCAUsNY2PvNxXViFXgTJm0wbh+aGYfS1QArPC1lMAKtj1gdhfastbk9NMOfy4FJqXjRnepnNNbwGJ0XBQWaP/X2ZiaMQHxIE6pf+MbVVGWQXcTiotd4sS2i1mBfl5rlUyL8nM6RGHCZ+vYE+TS51rLkgNhgrpIZoyiuVHY66Mo1P7i0QqxYcY9VnESGfVZvdrv7/IJAVHoHdG9UaA53BWHHhhXNJTRArRp490dGlTK/VYzt+8EvruRCtMKjkHbAzBsB7XV5mu/TSEhUalK1j0xm3jddolY2iXAIhFVDulNP6ScPK5o34BspXUcheXUdidW75KbQLozxmntLReOilaFlAgOFF4b1GRuL9CzS1MZKWKixBQuRL4lOM4RNEXBc6HCfLU33Ghb7hWZCVYMqqm01WXwZvI3iFSVtDBm++saP1l9gE6o5mYlXs3je/zJPbujrWjoAw8R1NeJ+ygtXy7xRp3LWvZxQ9Y5okOHRilHPMIA56m9bRdOfpqmrSPp4zIq/b+ZaBliwQxF+WJ0tPOkIMUv5mItcHJ0QYzE+Jj3L22iEcUOeGeATDs2aRwP9/t9+fyIZA6PJFDenuyi1VuQGIbtxB0R7SeASEpcxfNxNBZVFvffbGerr/YxJ/QpN1Ij0m4RRvQBVyc55cPij6yrSgwFNNEkNgv4K8MbH1HChFyMPuagI7JcFslM/30nAC3GGg9NOl1jucrWxfYyVfoTz/A6ud+rzEUz8zMOntTxd/hDrjdVXNHtImh2W9Ng0O+TbeC7+eDBuPIWKpYFWObMMC3qkm9KmZFseKmW6/cbrUchinkhCFWwnikXWimk9D9sySQgpw2DQHxxmCnxDZLEWvqOBnUpqVwqQ7UW2SsYl5NdgUly6OpyjUcD8Qi40nkhoEBUiYj+PWtVTsBRgcjYac4cX+u0Qt5H4qrtpw9IMIDFxT8WR+oq3TcqsE5YbVOwNkmfVomP1PorqyG4ReDhuEaV7IlYLLMkRlQLg91Sk8kCeT05njxq1tFuEAi4iYmHYZU3bsMD81ARZvCNQcIRbA3T/zTqydHM0E+cupQIKzsamgeBqAfdB4R9OPH6D6LLtwrQLI3R8roJ+Zju7E8QjzgaD7GCuZxFk+I+B0e8npHuoSlwMX9XqAvbxADy7TlnaqYuisnohB8RybydQiuhjuSwmJwrw7lycd159OEm4l16osUcKIdPTcIHoGl45SBmu36GqQw38ZUCkG0qgzMFeBLI1tXJdrr9YLuAlTOuNg5zNP+geftgzY6TKBwZ9IThrSR/j4OPsd4RR+aJAq1UVMcLi9e5uiJhp9vqLUAMLW9QfDqynxLPzgldQ2svGPjH5UkuaUrZsBDO/pXL93K9wS+GEQXhzSfMivNJODbc6oJhvjCEu7iHwWsMXaOGHiNqzRnqvIFSCu33yTdooaGO2E01dlNAnkMhkGIp2jXxJaJpzJrAlxaMf1ZtWHE7wE9kcktZ7LuvRkETnHTx3n00kQ699u8HH3HZUjOEBVkFGSnElLxP2byP+OBXew2tPk686f1U9qSuFAc6iVfQ4b9TYi+HGUGRbV+PeZ2TFTfIIocvSezwAaHtWmJVoNQXpT8C3IpWJm4Ap+nt+1/w2AlDt1lYRnSxY7ycu9fJNCVfBAtuhL8GEyJQxGb15f+S6xslhN2xJz95yupm9bnD1+kPEFfxCecpgXT35vu8XIdgi4Yd0ujIJLOINaPSL3MWN+c+qYRjCxZ56hV/if1pSLiliWpeZB0tnG0dy38EXj3KCobuMhvLNuDQPYvoA1N+gNAw/Qgzhq6IP5QdMefh7BduRTDHeBKhSuzVJcRF2v63ZMx2RenKgLUAWo9ScDORtGmrfklvaFGurfOqI8NzcVU06XRqMDpD6PdaQIGfNazMbcW8oJnoP+VmxjySqJJDpLK8sIc+MK6Ikmhc+AA0hpizdhuceltjtQIYFAY/rw/o8iNmPb0WFeN+Wvi0U5NS3K5/vmroa2uP7qFccA6vIVUWpYKbtkRQGGOSDPeSMXJ7GbY8db+J+hVTEzmxU7/nPBRqUELp8dhgc7Bybapy6QZwgFz3/fn76jw1i0IC8z7yxHIsaTGZIG+0Un6HwJ2tc0M28LqN66vY1mtOfQyrag01N6TtQLDy8umd6V4C4HGusv7xDs/k5WmlDQI2IhiJiwPlYcxnAtDb26kJaCaUDMaGlFwejT2lhaOqc4GnqI3lvPpuk0PJ8ORqBujI+FukLLzlqJa4R6vpb7Ie+7HVx5/4AVwa1rhTNVPTuVG4johrcAYJzSrHyxe4s/bjbaxvIe14A0bRg+SkIVifcPSn7qVDhe065fmyOOqGy17b0yN9sPmXNk1zJ+z3DZB4+vWbXBQDNs2j5TgNb2ebjIMjYW2aiZBHA+jHVUFc78qmaddmzqiw3X60zciMUD/UchDY3On+Wzk4TzF3JAqYYQydRuzmPkimMGubQo32AMub93KtHF7QtxzWDeSrJftxVB/7wypW5fxnJfJbFliFSBVuC/yAEq4fw6A512Yctzlmcm4K/Z/Sj3ZOJp58gP8inPGP51ZjeF2EdVXAatxtLD0gPugYIf4IiQrqyuvqcEkQIfFhEViVs/i2fh1pm/XEN3+6+eR66M6M/G/MtGtVm7SHqMYW2uJgFTGBkCwNA0Zb1tsxbbz1Pgfl0I4r6kF4+9hFiOxmqlLE/wBJNAfKb50L+qREe2wN0cbywnxbNq0eZlhLeGK4BP8fkbQd8R3SaqEwyuaBgIlZky2lkqwKBRJuKsUFmRFV1Reo+K/H+nbdLW3glamKq2NpacQ+KyOPYB6t8CLG3nm1/mXhCBh7YoipFJf9Idv03y4mNVoXGF+mK4MSImuZ5Fj0j2VfGm6HXiGqdiuctB3nB10RUKMckcMueWR/LRgnNB4ajdLVAYya+/pUY+460q6hvxy70fX4OskAPYubIaoxUthVzIc6u249XZ83R7o0BwNacW8WWIuJ6gfPyo1SnYDVhUNq6DYJSheJFUo7335CaH70yd4X08BWeMyz8v6zq2Co8CEDI02rjcRznpyCsQHnRZ8s1dEMDB3RWp4iBFwa+cucz9ATt/+sist3Z3swWt0wlwv9PAnE63JS45EQJy3c0pD4a3SSACJ5cwqzqSgW+DksdymPvFqak4T20BoHBpwVea1vUhnwaNHcnZoXMe2JezkWYdZA9H+eFWGY+PID2uuZ+79QGYHeKpAMq2VQ81L0D/Etr+tZIlUaldiGWGWLRxq+R4Ij7sN6RXTOI9VvW3NFAR4PuzNb8qqW+fq9im2j5c6OGc/haFkonl0Xc5qwsgWovD1TfWdrnDTRpL0u7waTujQRSK1Ls9ZoXREdXvb18goCzpQUS+KmYF7UuwMziwg0wmqVMOFgdaL/18sN5UamBkROzlbcjgtSSMxwqr/sfW7Y6Bg392XPTIUK1Y4uvxj4CjkE42oqyXBSsfMin+2GcAFTIpnCk3Qhf2W1QDqJb1ULkFd/ZlHBhYx8ItyJ6/9eZyWIWrW/erq9D4fOlvtE6w1F34Jz9Ufs3nuYEaMSpnn3jiVgXLgv8KeT4hh+2GqwVqLMKUS2viPuZY1v9VO8L0ZMyyN742XrGgcEBogMvEPnllnF2V/Cj2ZjKJhhOXglnxv48D5AM6vyrKkjyx4UNhC7E98EgIRyt+8axR8ivU2bz7LYWBJOA6BuTBRxpwfmfR0Hlpcd7oyOw39SVoQewIv+zYcufbT32iRvIIZb30dWXWMo9RHl56JNPtfcY7RXuDlnYrFK9auwRdRKceVh3EZdW/scgn0A53J+ggU8swMe0dOQOUppzhYNXvBg+CG7iwOthH7p1rZsqk6K3E/LaGxiaOvwK5B7r0IT9SqN6xFsb5N9ramIaCd2OluCEhC1risZbZ3mJDVCF40t0w4ABvJQO/KHO+Pn6fGOtLcUWIloFntT/QB4kRxvw7DlMT57+0Y5DAJZ1DaDkxB1bCqeA6zCjQ7Sk8+C6gC1Ohg0d48VqZj3CXC0DUuy3i0zkOF25dI04e9oix+yo84VRQbxc9jS9OJyDmdJTdZ21bstxdAh3JaBQSyU+9YGi5i1KpeWDDjhxZPVvARsn4rkXuil+julevDEGPIUMJlAoLH2vqvnCa00ZUZHxA2d3C265fZsWpu1qJOPWUjcAk1nUplfyiDk9HU8X0x3N7RFlSIEhf4FIGV9sbZCqt6VjXB+XB3zMVuc+tQvUGqjNyjsI+e1ta8ke6q27HHQmhVwbPc5mqG7//GBrPpiQGO6MAs54OOjUx5Fm609khm1pX+kHueZSV7fo24dWk1M9BDUCYNhDNtCqCxPl7mFiNFrj+4bcElQRzbt3qJg41Sha3WF80KackhKOIFSXyujDwqk7D9MbHkEMxJdCOiOov6RtCa9IdQgRAKNk//jEWHNvf35iTSJB9zQuRMRqFFlzICHtAUArv27U/9cckDCrZB26JdRr9gwdqA/2q2+65IuEb1Gf33Ay3wYFWZo629qtadrv7dKAGycpQ5mVjEc4wKGk1HK8qRnqOSoNqJzFDScZXoulo5PY0MFx6mAOXifJGsY6KDhb9BHmbld0fooDstX92tyeo+h221j1UaKAIbrbUz74hZIJ24sBIG3TnFAdpP3anj825Ml9Ye9v8PFDcJXK0fjht7y932X3Kh/tzlM+7qSvc1ST3ZHZmRNBp+9It5V8KaKA7YwWY5foUpVKprK39qG7nfBg6pzPGdkjsWqxxnRvLaIZV0LD4+dU0n06YTl2fB9yxNWZY+jNgELYugKsvl7oXCMW/Z7BbPztJLCF8AzHK9vx+zPJ5QqRZ/o1/fmPgJrVvuS0p0VBrZUp93Rdy5koUhB+iAPLTgI7VjN7yB6cKC5IN64lbRyxn7II8MkC9e4CRWRgrKDWQiZ5MfhY+82JqjY9YCqEKuo5Li5WgT3ODwlx32szyhEI+G1he58XPFiDbxGyr/HoAZScK1jxyTrbEKTossSodkUZJs8d8dlp6mrJAx3zSohumd9KEp26/rCMpWAIS/8qQDHXOSSASHF7y8OJ4rTMtDcYCDbSjVt+JP144172Z0KhzHSl8cUpE+rG8LIKHM8JIwXslz1+TzuzGgKX9+5n/YbtKzrbzvqX+0HEOWFADjHd3IK5mnPbDE5rWoU9YlHouq+1Uy441Q+8BZ8lF29S/oojRvxCGHXHQoHga9otMX4Cb/0ip1JkfNQ/Eks/JQlnfbvuOkD1HqBUIgdNk4hVm2JZWxroN4w/Eix5kHYCli7pCapi82+3TsAlQy8ZYfHei0xF6sJz7O0tEE0OiXCotIsbG6rxC4ZRmYzgdp0/nyBJvGu8dPramg9O9yH/jYUKAFYXljPQpdtjvZu/16c/KF3YfKMSj4PbTDwXcSEOWpm4f/ptabw6IQSpNIZiI4WPiItXhyUMEEW+yMIA1IqOqtfvwz5amBvU2+WwQW2h3pQ3FtWlpPJWtwjlTIVMKB3PC5Iyr9DmqbFVzzmTyAc7DvjXokhoIBG+7K0JAofxeiIBjOJbWqQzobIt7v0H4GYxg60V6OF51ZIW0LBNTnwpyY9y7VClPcIdVPvA0aF5fWj4rMCFbiUW4/HEMJ/EmCf+JJEQd7EqTsp13qQ93r5OHeyUKYGWupo9tf56tKYvpst1ZQIQda3bkiALXrBhlluvdUzqmvI5fPepWOPIFJ0ltH+E7vBOXgz9lRONdFbyDtCwBHEyHap5jZdQTajRV2v1a0+l3yg8k54vpxyj0EHYcsDP9uI4oSv6xpABgRuZsxYEg+P8V3mtVo9SrQJvZfRgNpFi6NyBkSmw4IluOGEIoBl0K2QuEjhVSi/XSsGyjJrMv+zsGTxTfbi18ua8QDYAiYWn7YZg4KICzEIpKcnomHWFBUjguAiRW8An7S75zGQeotKKMpfE6ZMA28D0aovknKPbBXyCOh6snZyfvBTpz5WnEH+KOsQD7063z5E+qDG1OX6+k5pxGoCkwiNNIeQDxlS5EUy1goz50Z/gbRQoB9y3bIsl9ldI/Q/Hl4R42uO+5i9P4y84TxbL6r2tKo0dlYRyCSrJu9b5TTM9Gq5L8thxF4G+rFcVwwr7kyHbltwdYDrZNsf7qvdV8KbtUAQXXXcT8hTF858t95FqmS4popr7rY0GKXKxhRNvROz7T1B71VkGgUi5X+NCa+bnq52twXrdIQEdhXnKLtuvRRU/PL0Uiy1Mf6zYX9Sk3w5y0sOmnnGnntXlgsW4j8apU7P2/tRtWm4WHsuCysjsft7r/9OLXTcpAzIVL4nSquf2JR86kiqTfbVD45adi56HEHN+ryhFITZNJpiPYre/bX/PU5ru0pR5E0kKXKR7mwAW4JQsVM3rd7lc2Z+KeNfMe4uT5JZjm65HkuKUxGNXiznBZ+zhcNs2QWWNafJfqDdOctBcBJ0PdsJ97OlB/8UkSpc3/SXsjD4TVReHaSvC4gXX4OCXAlo7NTGG5Bjguy96uu5YP2gYcfUTM9LbDbzvD7KvQ44Ml94m1uAZejGDFrdG7V3Q0OrbHp6hlUFjmH43sh/7xjCfZzJRy3ZRomP1iFiAGQY998gJLwJ4aOWPWVs+tyukogtVW0k4/sXYbZiiGAwDwlzypM2BQ072dmqWr3ABOXlgrr+M1I/mqmSGtq9+W4fyb4bE2PXwpz7f/nA3Few+WrkPUAlG/vnq2husbrJUnwfOMRRlRuIs95QQ/gzzkHJ4nlYq4LF0zpyzRuY0hFS3KT0d48xrr/ObzcwFANY/kl4WdEoUjVPytzBbNrxUAK6HDIa8Iz3wIzBA7kcaeGjFvmxfcPm4QlIBYNKI9fsqXFHTohfexLu7fuJm1thIcvI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228600" y="1295400"/>
            <a:ext cx="8232140" cy="4879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563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990600"/>
          </a:xfrm>
        </p:spPr>
        <p:txBody>
          <a:bodyPr>
            <a:noAutofit/>
          </a:bodyPr>
          <a:lstStyle/>
          <a:p>
            <a:r>
              <a:rPr lang="en-US" dirty="0"/>
              <a:t>Pivot Table Example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457200" y="1154021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/>
              <a:t>A pivot table makes it easier to create complex </a:t>
            </a:r>
            <a:r>
              <a:rPr lang="en-US" dirty="0" err="1"/>
              <a:t>marimekkos</a:t>
            </a:r>
            <a:r>
              <a:rPr lang="en-US" dirty="0"/>
              <a:t>. </a:t>
            </a:r>
          </a:p>
        </p:txBody>
      </p:sp>
      <p:sp>
        <p:nvSpPr>
          <p:cNvPr id="6" name="Subtitle 12"/>
          <p:cNvSpPr txBox="1">
            <a:spLocks/>
          </p:cNvSpPr>
          <p:nvPr/>
        </p:nvSpPr>
        <p:spPr>
          <a:xfrm>
            <a:off x="457200" y="1494660"/>
            <a:ext cx="8229600" cy="685800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ct val="20000"/>
              </a:spcBef>
              <a:buClr>
                <a:srgbClr val="2B303D"/>
              </a:buClr>
              <a:buSzPct val="85000"/>
              <a:buFont typeface="Arial" pitchFamily="34" charset="0"/>
              <a:buChar char="•"/>
              <a:defRPr sz="24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rgbClr val="87A634"/>
              </a:buClr>
              <a:buSzPct val="85000"/>
              <a:buFont typeface="Arial" pitchFamily="34" charset="0"/>
              <a:buChar char="•"/>
              <a:defRPr sz="20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91540" indent="-342900" algn="l" defTabSz="914400" rtl="0" eaLnBrk="1" latinLnBrk="0" hangingPunct="1">
              <a:spcBef>
                <a:spcPct val="20000"/>
              </a:spcBef>
              <a:buClr>
                <a:srgbClr val="E88E4A"/>
              </a:buClr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188720" indent="-137160" algn="l" defTabSz="914400" rtl="0" eaLnBrk="1" latinLnBrk="0" hangingPunct="1">
              <a:spcBef>
                <a:spcPct val="20000"/>
              </a:spcBef>
              <a:buClr>
                <a:srgbClr val="00B0F0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137160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44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3736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202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800" i="1" dirty="0"/>
          </a:p>
        </p:txBody>
      </p:sp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WOFC9zyDCc8O9D1aFpzvSM4QNgcN2eenHX3SB2AEucb8zeGvR4vfzxC3CWfs9EGBqhUYsu6d+OZzkq4IdAGxKKkVyTWskK1pSh40nagxtwwvrqWo3BrkWYd3Ljb0N4e/VeIoUfa50pmxXZ59wUgp56/IUe1n7sta1vZIk60KOAer4pO5MW099kLbu0eNZR4RrDmkDAecVR8i+BDVJe9YGntNmyFM/1clQ6w9DaNFV87Ry/UnGkf11aYtFcmFITZeXHbIr0jLy/OCYrGyvFLW21Z4oTyPMRuGrvXc7Keu/aR/NtBZf4+jvhzQVxbrj707qKtqCZj+WmVQcr5kK93JktS5UVFw8F9zcBph3w5K4rdzTXaA9P+29wn0ejv2EbFWeA0e2RES36rD1XSwy76zY8dFHzKB+GSJSLOVveGc1PmttAE3lwa/Cayzum4FAY3j79eKBtFYi+9j8g64vjQdnvd2OdaMLcmekLYnwfq3usR0aWYODnSmvwbCHdnXI9wYG98delFw6WZ9DiVTLi4p8HwwZDa+59R0YrWzq67ffm8F1As7qLwDDW0h3eTHH9vJ1YEDVP+GROIUBL16Mj6/gKLha+n9pi0e2+N8X1kVBQ2j+/YI9NofARmIz9BwC+Gq1XDXBo0Cc0qGNRG7+CjUacnq8nsZZmS8fzBT8Mxg5WfWC2TIvHxNoAdiwX0Ij/DKlGlvuod20wiMJwywJM3aBxgAIKSiy66yMo2iLygDAS6Vbf3inJKsk3CK+rxinOhzvdZ3+Av//aABEP9VvzQb3p4OWAktCvPkzBULYPIW/s5JEY3hW1d4tR/w77wip/cq5OJO+CWlA6J5PkFWPu0qKmehU8BeLeS7e0bppO+bGh8PssWOczZAXukKJM+FCJqQ92e/5ekIOqACk4mR5lWVCWvxxWXsWr0uXit21RGdoRcdZrcDr1iAymxbz98lsdWI9/SKg13hRTokeEfeE73kQ/3yW+a+Ocysxys7rbieQ/yJcj959TS9u3dL8fVM4jGnLcTX3uH7UWZY2htNRfZVAEGztU9FOcFlmuYuCZcY9GvdRADXjGlFpPNbLe3iKV4Z4Ok9/4kwu+QQ98ip2aY68X+UO4ad8n18ZmYgzuNyJzYbXbPRE/xyQloD2Mq3IvKs5QXbyDz264BZGHWJQFkOLuqEWfb7qoWrLb207A3lMIUKqFRWDpLWy6R0JyAHMUROe4zCkJrE8m6FcNpV8ytrexK5OAGm8wel5aAAMnhXq2QpLkWwpBhaRUqKMv+uLnsl0pnyCaElp84rtxRCa73poYmNekSE/pvOvP6IcaAlKNYUkXlTAjhcsmBEmmZYFPQAnDmuYHhmfyXoHSHdkhgkjadbr/hVfwfTQ/ImgNyKA2c8mgRg/CeKHepS6BZVvsf92KFzYqR/ttmUeqfKCN0s9g1igCiYNOnnEQoEIg5LkZqWh3zadoGPnsz/GmhUFPv13GXRnNJLR/sZH8PUQO+ULadJgjhh8JdjL/UzMaBPS2OSb8FKhCAqiSoioLH0sIfpToNcXK05BKxDpn306tO/WnFDLn7qJ066XoeXEhSr2L9vXR318CfeuBSYaENWslyzVLfu2bgD62aP0gznkV8dpJOjWmmotrNp4yWdmbdf+oRHqvMgIIrMT3DDzzaRpMc5nBFHJvxlckCSkZ6o3w79KiI/T7CcilH1VC6iTzzIdQZ/Rf5Q5N19Wkyd/LuvDDlcmUSNJjMRtWQ+7mD6BSuryhsCXwLpefznDiqVhMow8Jc7YuggnbabEVX+a2zCOmJkLWQnmXxYPvqYB8Xbozb6eLOOSMwlKISP/To77Zd+PcVEF/2o952+8pQe0buUY4uam2d+giALyvC1Te//jtCoVfEdDIV39jibx08D/PtveglvT9yu8n6+75qgqpOCaOR1eUu4/DmGsiAPNPjhi276nDm9q/VV0OlSCOdem36m5OzE5MXHE++9xHzd5rSxeK6Eqt5cu53FX+OZ1VvN+PT9/DJuuoejY5mS8pRIofLxr3ehn/VRvk9bOMOiT5AI9SqmpIBSr2fYIYuYqEO8rrBU1WOzS7x3I7adN0yLo1dPSbw9puIEQ87PboTrQ97vzTalTJtUkSIiDFGVsN6u6MNrOJ/TeQAU1hQoDv8Ab/1Cx+ps1GdJ6gTPpmRra3/WRmlEF36UpG5LdKe2eWjMgOJgG7PuQugVwM2oc8Jy7rhzJc4D/WUCp2ZV/5cMbnUQvt/ytzxU/W8SvbyNyBIzO42AEs2LpRuLE3nM4/hmhJec0rulm8dhK4GI6ZJg7fiZpLrM/B0Tp++bJREyoE4yQAPTZu+Kzjh+QUTF8GMphIqSQEeY/9NVFfkB/clLtNsK5AgP7PfEYdU4Q+LJ/dhzzSbfmL3aXuNUXAoftINZzqkz5dDGibQfUNJxLwVswnfjbDYtL1jn18LAfUxxa89m3U/3BfxA4SNPAE6NzfY0MIzeko+PkdBtXg6xDoVPjTwS2MjIBS/ZRss5a1iXu5Z9VFZcbM0+ZHY3c87uxVWpQvGQ5aer7izybpIH9fJpJMfRzgP8G4iplQITg3MI3Pl+f//W6iwr6Sv8zvgfbedW1pwENHeHZZBRhb4srUgIsjIlV6EqeyDbjWoF2RgjJXyObU6dTTA5yjsE0b4PVFvW9a7X2VO84/JyUAxC4sdm1mUwNlX5pqj7tXoZ59jQ6zunfTLFyCht69zCiwplzo/kcjg3JBChj3bT89BMcDpYoE2Eoc5XylUIWG3ZGoDKH6KMezDU+//Nt/02aRil1hQLj4qc3GU5VXJdJCXtgY9ax+7jaTWKDdSjrUqmRdHneSSvi/++fsqLTCWqiAxb8El35k18VNJpFTBbBAEzlpn7aC5HZhSnLMxCHvNZAfvYCAf8FMJJWQ5UyXs3TdDfT+RbfWOJZoOJfCI+/LIJByGlg8GtEqCwLlHVpNNm2CBwW3Mx1KFEt0maSd0Pqct0TG+gbeLSbiwgx5nf4fRpIR8ARC2DgMOEkulU3hinNBc8+4LUcjh6LJwzX9EXaMBStEZkHn/d2bL5Fb2RQivyeibVHj8lcjh7ZCqtQBNggmSQXcBl7cV7soc1oC/fABtybKyMHRkDyt/a/dIKTfUE7q6+DipXxhSArqPwkGPDQ40zIF1s1iY6zD2r6OrMEN9Htkvuik8Qz70U8t4+4nX+FETpFzhIfPP6cJhLktPWWEfKFVDEWnUMTJ619WYftylIWr9yVUdtjeamdoWKYXY+klj1lFbYnGItH95OY2Zlorgt9BTlD9iFIFRlHcs3EEkPdywU4gpd7M52mz45tFP/OparfrK8i1Q59bMa7jXMAWbyrK5dPjiBXf/NPAVxqFOlVVhsTpvvcrYPaq6RcqAax9+dI0tI65Lv76f++ype/iBWUfKDJKttqoxyJkJ27Csb2N0A0CFoucuTwZMHcnNZUYG5YAlbS3dB+PIsrigXRuuxXYvvRLNoOQW1CAMhhPBjR9GJK+g84ruhwSSOqgOOwH5qK3OpuB0fniJUnKveMCVOw+K3Qof1c0GkDc8uhVHk8L7/DXbDD6fdEu6Zc34W9CMmpadVgxRdxxs/wgA5zuaGBl7Z1VxkaAaXISFH0EWlegIu0BbDw+TZaul62YAIYhi+6PTa8EUM4zcNRc2vyYwo29dgYKed/9kC4XEXmKJRe9Ll01uqwoy7vpiHsa4uZLKEUnmCzUeO5cFIeqtk1CUBB7DcNJ7fbVUkEWkxVIe9w7szdkF9gHJUGUFwj5/oDSJcLp+t/sShtOsRmGqCwpnpDBiM7+Psu1qvta7m3rOc25HTU+uZ6uW+MOPv+vgF7HAUYTzC/nzgJNOCZSq2INA4hMimEw2zaebpJr1yqLIkUKA7G7sO0G4HR2G9rXYqdZhOpJ9PGAJjxrAH9BNzaWPu2r3w/Ew7RIja1euSTxMNuHXChaAsmD5qLSjoqjnn3VGJPUTv3JlQF6fuxxh04awlPhOhBv2uN4DQfLWjxWW0Bkveq/Yo2Vu8HCXcfBYTzxB+QoSk1bhrZ2+TJSoYsnadKMuz3L86VFbFv/3YMrl9xJIjcSJ/nMaTNna3nMYqlMW/BMgcZ98D6wzrIkOlfkLFtnIqPoRIkYEpTlaMM6Uvya4yV5Q2/N7l4iejXnoo/01WTGCbBYldz3t6qGRXPogjfTsO2+CBJ8nn6pHlJUvX2A/CkcHrV5RCqeaxtckeyuSDHXVQuCpU8qpaz2WqIK7+nZVCC93qUF7IkkGSqbD1892Y5Bu1KWbKlh+HOvN6HpQXBDlgcf1FAm7+YRxJoWABrNJGzZAwGR3hKkJ0iCYYf7w8VWgpxUefCiLy6IaVG5bL8Z0DA8lyCwFMjoXrdeS4eYpUxxPZLS0T1ILO/svrSgK0WuXgK2tUNxHk9v583pR8g+bLMN++QIdCPWJUqpWNqnHk5EFCpoQxiMedDA0JeHy6gHd3UkPNClft/d420O6RkIQG/Kds6pJl+7ThIce9UQIn1ifplR/+GlML4c/4a+wmukTkE/YmDYCEeKUWU6DPzJSECdknxSP4SeQvOmvaDapHGJNXKtz5zTjqr1ft2P2Tq6DvXSJ4b/8CJp6dBHSim7tAP8jWcRel+oWF8M5qyIFps8kE7RbXxBjEoAgbN5S+OHGFDrPK9uGtJaa99zsEFTd1URGEFU9jHrm3iCak2FKXhHX5ts4I51rSzH1qbGpareKU1dstBulzzSG0F75vokFJwKr571Si9jIKZhxEE/BaPzKVGzLfmYwD2YiLArdDKcnC3DliBgFuYi7EVMk07yclvbr0Jf66HDuaqU7jqjr95Mrz55pn3qQ/ZRTulhWCsxxxphbQRS++UpCH9jdekdEnP6F124XD3GJkV9oTEyCpfXDmBcGxw/FK3M9A7KvekCm+J8O8q8ehHNyHQpF6CXjiKec+zK8ix2ceUE4nScdqS/r95TycnKg9lP2eLWJVyeVTY0c2lxdDg4sHPKHEELZ8JzuVA+rA3n0I67ZpDv0SlUPCVJ8/PjioWj3M+HDIDOfki31hCUiKX0mEXsKbAPIiOqtmvIOJEIf+rWlbuvsnjns9LSEnF56ZjWfd4KIFWDJdyZsDWWPoaGEYnAyLEZgxb+5PIBUIg6YhSPu16dq7RpTIc3LUUWc0xmG9ujqyyg57haNp6aUnubnplIqsEWqsA62oCQ7ppNmUyVYzlckFxNc3WtEjNClllCa9egOsKtpLcD+U92hRB0jzniDfE69RbEttnaW48FBb88o90sa7vIRILSEf9xYrHKU3pgH1O9E7IJt3fxRPzKoe1I7seQc1c1g9H9sfNx/AtVjj4VQHa2ri/m2TfOpWVnXvwrDSRYYLfJ636POk/rz5CmxUMovBWsatiHgWfSZ1QYUaTGShFRzClKHrTF07+6YBestrD+ylXZTA1MH/6JVxdwMMh5J4eQozs1TASmgaRggJaSZ5s0Xk5GlLZNawDaqwr1ZIp6iLntXSc8hWsvIug8bVGJlNCqP26nBmr/WJogEwdNBckmkxowbn7vGmXx4FpzHfkoz6xIDkSvm31yA9yguLOtD5NNEKrr2dPl5qZkOgm9bXKGzztldMBHFw2fHsQd4GsYRhWHoAqSyrib1cahhxbHeEPohNdjwzcQ5S34GS1Ov2kkGCWUpvAcYOCL0nmQJTPtQWXGSbe0o4y477ET5wkqqQbY0wZaMomEl1hwVCTSxR2102oZWKF12HItoM/XRL7DrnvSfyyRXXHvkN1+R87ZIMgE3XU2LY38qMyVs9DLtcX8jtlkq2ypTJjh07dPjx5y03S71Eg/2KTrXj2I14PnW3DcrdLE9aSh4FaIYrMCTMXWqH00k20w49k0PRMq3ZmOiYuYJ3d/xZoMsL1mZWO4CyyLnNwPRiuBTSzvMUKSoDUmJqsWGYcJh/5PGk5IUEpjl+HHkgFDIqVCUt2s92OqXbYIpe48878pCX0kaLhzxCxEwaWV7CiqiYMRVQcimwN9dyTujI7uUKbe3Lf6LDXmfU5s0CJ7L0x4X7DHh94/4D/GM6qt2dAxgb9fUmil2FStDTaQALibv3ODT8Pvz4MKQb4uijjnTwgWqylE2M6rRoJhjgH8mQ0KwpjMkDAEvMRoCV1dW3wkEYXXQIp50ruGdYqIGQJn1gpzw+nvV5pNbaPdPy6BUlwU2h2I8DAzlwLYvBGpJufQygftV3V04aEGZMCg0e9xpXYSoDD5+n47hfrgDleDl9nfSqyIcxqurLmTg92sbLdTBpIgRdeawxZyIrzbBacBPwsbIDLF9TTEI09YAxXJwu7ydYy0kMUq4RQbh00YIhIJrA4N1/hV2S23f91/dptB9rDWuowuCZ8XWM2EhtABOKPCmT8y8d1D3kpy0o/FjKpGA9lIU4mnQqVyO5QlKO9IYTXfHhMQ4ylcm6sG7SBRtA3d7OFykduj4PfrUqy2d8Kgs9PzgtGdpP6HOuVFppnp03qUXrzjiPODgNQ3sFD5j31imIYoYU41txmlkz96VfdDUdiC+ZXDgb1fP7LhnKyX1Zx76WlFYipucA7KyMtw2rtah/l1X2r6P1vr1o+JLfQpkofVnMnyLmD/QtKvEMpzh2hKSpVhdas2K+f39EsxCZPMZAcd6pnIkbsLkSNeJeesvXbSXQ9xAVtCd29lt0Oyg+5sH7bRRtGQA2dENR1NqZ9959kV6PGEpthrzNtseVcWez5cL6CIHFkPDrbk0md0lmp/5iqc3ulOlzB+N/HJ7t2am0A/69RaMUEYTDkM7IFYM8ANQBYrcyRLmY35PVG9I0iRxdvQ3JyZtj2R5AUtmqZysGRp3INUIgx4To8JnQIO8Zq4wJHdvUBGRLspCF8ydYyVst5CiDhoTqVCzJqPx3u9eqs8+5/C8L61D8kndFl23a5/x1cgAhSUfAwCjj/lCERwEARibKflaytIVRiNBrkms+4Wfy3WEvQC+p1TkJPl8TI9NhEdQYRyL7iHBkjS9JiAKdHvE0haBxxP0tVi6o42Q9+ZBrJLV96x37gki4bfbcLrlXwxwNXypt5/xV7w4zRL7kMwuG1sWwqses0b/zNBXlu0XbJPPKSxZLjBvYJzZJkiYXNceU+9SLzYWVmNJatCJP9hed6WeECNnKqJEDH+r4mhdNaW0liB0ohI8IT59y8WzsgM+jb2wdu3FosnKw2fm2+VxzPCHF2b0Z15F90n4CEb/hw7uqZRa2LC9MZt63H+2Vxw7pfqOE3bzvI4ZT+n6tKe5nP/7F/fkFwtrIUuFxojrK2R2CSg5EWqX0GYFzo7eeHh0w9VEuSGp6bKkuuFwo1YNRFcoBHRLDShs/I9ry8vHntITeHRCWVNU95eHaKhqkz0tlA4o2/nN+g9PezRIDJO+dt3W9+7w3MgqAhtKIp7RJCAKjbjJ+lOJ28WyUXo4lxwd4gmIcpFhI2hBsdnIK9PBa3k8O/G+f6qzJP+qFEjs52/VTvf+k1L5RwEhbCTszZhVhqjcaRFI6n43s4zz6IR2GfT3HOS9A15zcI8d7U4/oTQe8KaIpVnp9iudnaNzm33U7D0nFcjkVb9410ylG7O5gAiiZXhPoAs2J4sdRJk3op9sz+ZsJBXItW0VAnYNxT2o61mrtEOiy9ythl+0DeFlDkkUs6cEcU3uVsrCdhKmZwmImPnjtYti1KfzGtqOvH16VD6jmFRQYzd1LlzZLchYU6vi3eLcuIN090wJoTD+Wpg5+gKxVcUqE7UtgBvm+KxdgPMEDzroqeLD8ZzEZEzqgatZlM/J5KEHcWfaNmDzaPhpdRK+UzoNW1ClwEITYdqRPO1zBb+wtoZfVywVpJVVLScNCez+vKDFQYiZsyKbUbljKEBgVxdn0vq+ETOAR4OxE7vhalFXPoGCHk/Sk9r/IBcxGEE624ySFXVO0bsBVdVmxbyn0rBgFUBUffu5wOU6p0aFkcdVt+DE4X/UohrPediOAwf9JTfb1tBqQNZxYGZAOFOANwzn2ndh3TTTiSa0JO8EeOVxxYc06iWtHYwDZhDYxnnef2j/PfWg7eppzK1LIVpoCrBA2CB+jKIspV/rWuv76N+9oatkFyjUZflErWjmeojv3binVetBNyLjSpqfKad/FFPrnYYCtZYyAsIVx55kmjf5GpPGSTvelQ1hlV4E04+RJmNgD14FwouEbepcE5X1aPUvtdw4/hywXuRZcqkB4v8ui4+Xw+KOCQJvYbnRd0ilv2HGsQEUs76Yy93OsM6Pmio7P49ywOo77Ojahp8AVxKrSMyGgggGDefqwrcJ8TYORmGKAjwj4DevZpV8Zblnp6LfTESLlmM24qqqDfC6t2X7N43F+i5i2XV7X+yDm1lOHmJBkknuo/OHnWe8eY+mgWxAQ/Nz2+X/275MMqeG7JzjsMIS8VamFk6bzUhc1npveLfImP+VgJY3rgQwiHzITnBk++R0RBZEPvECtfFhaR04pp7slOdFFhMMDlgEN/3JL/O+uXl9xC6CnNrqB1RPtpQKAZAANNlPqBVOo1EEvDtwP8dYukkWdE7V74Ut+lrhikDMZXksOuihmnZ971LJHV84MybhXALcBJeXsYzjH/RNagcoU5LidaHIZ/qxjco/iHn/FuDgYc9kBdkboB8FO7HhVchT3n3pBY5q4mzkTGyO3jx8xKDUZ2N9EoFpS47S7ExJ9x5Uk6Myh4OPSdI9/E0f6AtjB1YcZtoSTrPTnNVOOXDgPwmgggFSAEX4IpMgadM4/LK3ATVxUaeatJijgT2Mfx1+w+D5UzrrA8vfvKNVK6Rdd0vgXN5ZYwdTAs/pwnfNg6Eu24U2QQvCkz+Ja4ZUUBWX8ZGjHyiaGgXd1nbySBXt2IPkgLi6yyLK68ZTBFc8L2omHjUaPpKRJpvgL78+GPjahAnqoAvXWsQInXL9Wx9MibaDDtW0+yihVX4UptmzzT2Otmsbd1VuGk5Ca7iKyo87OByPIvdpwTLrB8snLSuwE2q1KFCc7qb7R64vYH9cUoLTWsaDpRsiNGoJfQYxj8oT0VWRvIpUyhRSQb9rtlAC/c/9uU4rVdGl21G5TiHw0kY/eJFjeO/8MdayqZjdZ+BegHWpTQNpg+Qg9FcT6xGXUX3VoO6WHObcrPFMJrTvk4o5jO+JQQvxpjS3YR6ZXOYFU7WeemT3AYOFTpR5Pun8jKV/3So3zuY8xi0t0FZOY1EX41vTMj70Q5N6sdppdM8FjaCwthJWzdC+8m791Ippv7eKRYQSfWTRCcwsY8NMy+uoC0Nommxq2NZuXX8wUr4D1NAmc70O2EqAb6cM8Dwy8G5rxkTcJLvJp5uwfrM7J12SHrvIVMEjBNbB01ICKMO6/y2frEYrsgG49nFQV5KV1/yUuGPQrg7JhnS92oz9yxf50ovFnYQpyf0mV+9uZt2wLJY8oQDmwcpKou3d6oHp8jRyigC3ZfGfg5p6diOFHl2oxj1zT1wrv52lPXeasYNpwh9O1vVMhTzRIbP3UL1az4KFIaEncl4Uaz6qsxm8PSJS9hLQm5Mz7iFUKQCgYuuMCdg2zGzdb8PfbSDl7VvkXzW8ZBi/AzJCpHMIbCJh0VPCrQBZpgtPhpX+J+O9qmgmrFATCLn5wutgb31ovQXscg/iCOPqcRV4CDKmbrssudoDQARh1iS6eMIpFvkycgO5v2xmlQLBVbdP2ep3IGKYp3VDrhcnB45SVr1YXRL0Bfg5WAmHw/np6yHGx72IEkREu7dlrNXVXCygk9mH99jJFRhDz5sy2L/GUb1d/luuXJcCrR6MMR7uaw7sC+ol+FD4Lgh3RnZQjfTjyeZLJYt/P9yCDPz6v8RZsCaiFbCOxO9uQ4/2lan1GrafHzr7Vu9f+yvDMB18FVTLideAPxQoA11UCV3lRGkpLopEoO2vvGF3qSiTjrD5Ew9A5o7ZKUxA6/wNWhKrSu2vdg9+RMabUn1dbKYJfp/C19BwrP+0Hut7rhTel9OTls26lFhRmsj8JWFrsZVYxzmtEDAqgARNRuSUUn4Us3GEmvU7wUzCsYQYPRzYqjHWzegcm5WTaQpAcUzP5fsE5CndNrUPSbNnit8d8db9+Orgm2md7Lh8mBntkW9Xe4HocpAge0Tuh9HtuT9X1ypg/btYbAhcjKfk2EDnvGvzrlORulZ0pTQYEQVciD/n6bjcqD4pOXOASJjhEVS0Ia43hnTaYedRUp2i5HtxplqlzM6zveFTAU9kyIhpHDezBGczY/N5n8fiAl0Ygw3Gsj8jFunAvaMjkoxCNxPxKsXz/Px+QV8pxX1DIdP5QTdwa9EcgCpu/J85iQnKtNjy0I0fGfRMY6qXD6qMrDs12i84zXZWX3cZByTyozmwL7xvboQpWZVhhigQsgv2kEbzZcT0M1azgvlUEOARog56gBXclbtm8OwvDBynbCZ5s9ug6VUnoTE+diSubRKd1qo6tZfMuEZh1yfsEzj2Z1RjRwvvkg/AhhY0MGQdANMwZBpCx988To1Fq0xuD0KRuynAMRp5Wu6/sYOn0ijv30SlaMMLVFbvlevApFeg0DBKQlsecawkk8yCInMsnhrE2U+J7tKBzm9Cw1dH+TAcWCin0bhnGyEYzvmO6Z2IMwuzxNAOvK7sqKYRzvDeIUvJUb3hjw6IB+eT8qKRrrV5VKoCSZoGch+vVBePoNXnPldeJR6PoH+H8GED2S27NtnA4+YBYUv7v/UYb/obEIUjpu+uYhGyB01atLXq6n3+fBiMjwNYxQlCSZL+1gMMd8Zu0Jhj4M5qT0uu+rVVDh8QvrmPaBcoddwhgAub5I5Cjf88Xca44W+j7/XudKr3mOjCnPc9Q+ISrFnPVVXdDFFgL0tSkYIMZ9PIJVFnPKgFO/zTi9kUFYFmjwNYO34bmKBzMoSNe8fP56ARLSGVrGcF8AJz/1N2bwNrgwrcLTj+s3OF9WcWj0tyyP7fJ5WBzOAf5LVXdLKMfcoQ/2CtncHXZ6KX+S+N3CJ3GVqc2zWJknsFQcI5fMevmZF0gKK7MeSnd7XaymnLLFJU5P4n1sl5EPEVsyyEOglrRBEar5MZ096ebZ/U6IonpjdDUOVYVndL0S8+QV35EbLtO+WAECsH9fSTpbBKiMnDkJ+SJqEl8/XBfR0aGLZ33dAE3fntW5XdwU9O0clf2ZYr/SGfwMKItCPkykvvoqMJEboaKWVaWYQG30yClJcmZy2WDafCPf4B8JKDxJgTxlpilB2e/MhUC6f5TOCZ6ayQsNu3zZrgnpqvAtkkTDeaXs8Q4JF0V5JdlqdY2cSPeGkLsHS0oLQhFvPfYcdWftt7Lgk6svGPk5x3bMuGyURFA1FOrSNeh2RxVcQil+BMvtKBDh4O9VYoqmjFwdrYEsa2Thaa8QUmysZYg9Cqa6lHcZFEIuJB3H4GtOEHBA1ahbIsehmXlxi9AcWvQotBKUIuMedyZyJHcJWp075Y12avQLonjZ0732ezezgwQe34twWcG0gKaUu/1RnB89yjey4iPzoiPZtlZoDUSsXKs8MF3RA0F6+IbXV6kFkEgF37QyaZu6epTdEEfvHujqOdk4yWLHfYyeV6g59vCW0diMeBVlFWl8Jscx2zI2r97Di3ERta6M2qOyEMnLmOXFfQaFWqQtcxpNrfmic1LmsmAntv2aR33+VMQrF7cH2mPQvk/oPKjKje7KrI2Z0Mt7SwFaq6Lp69bjI5mC7p65kddGbcvPg9zh0yR+/ICpT53E9t5A6T2ByixM4ECldqt+X3T+VrGfxgDgoh96yzHtIWq0AhESb0KoK6KBtvMiNZv3X+8LREa04mDPAw7IPEdSVtkavmgRrmn9FBHs6WAQGaHZRgIAwBDCZhywlW4IYSSiMSoAp8BPCibk3PacQUbuR+d7X3c9nII8sFoK8mrM232xibMPtk3aEa0wBdI1eFSCUDMypiaMEsvKrKDwpWcPiZQCOjC6gtOGn8y/+mNCxDq/acUrE5kf5HPvKMmmy51WKx1KgKhX8a4uh+RWSec1IV5SNQblhIVa67C3mnEr5tQOdcpyq2FFLZQxhXwiT9+2xWtkJsrtZdB7VjmRoezhZeH3w3OvFHxyYvDWCnAenIMlXmqSzmaRsQSfDCqZnsqC8/L8T5UU4XuCFnJ+nq32jxdn9b3UuFmlTUUdZrdtTu7yyzs7OkNEqO2HHxpAsJgcRI3U3emAH5QJ3TvpJrtwkeus/HMe90Omz/gMIKSZ4tWTri5yYmXpboUSWH/TEY/m+9rR8bsl1J7CB27H+BBCaT24+MMFaN4VTXxgt/cdz5m5VewPZXiit4mnXB4JC2GgJ12EO5T5/KUcNijD90zPEA7l+6zA2T+R7ZJPFJ3k5HSJB/OqrHhl8jqT2tlc9KHwI12h4DhrjxL17aIYdR63v+0Wjq/tGYLYAO/jKFmdU5UJV2dO2KjW6Gq5QLbuUW8YD34V2uCfIfVoqX7/DkJgPOaUWupwQLgKetMb9LUuecKkLTN9sDkNxmqO/4w0aA2xU2kfmi/DVnusXI3dTNYTYgXodlRU1Exo/F90tgx/dkB8FlwoGsEYXRsO0MGi+hAG1f2ewnmHr6gs6c+1LBQbPIyjZZEq8nBT6uttUEiZ8Lr66HCV2EpR+Nho9iObOjsXyEBu1vEhfttBo/+l4bXext86DFPyvSzXTmVbTKTFdSwdO3W1/A6KuysynEaxtBDAmRnR4hfPypMVr9t99kPSdkNAbdPbuoO8b/VMlNkivQ3kHpW2MBp9OxGm1uPEQtag1ZHsslMJKOvCTClJKVAZxYciQRhOAmvqYeX0SxbmZr/k6ePRxEGDAHSXRdh96C/slSlZbJ+4gLmVF90KCIrk5HMqFZakFaw3kgD9P7pW/HeRvsAb07WDAud3AAWgLvdbRTXzBJ0jlt7xmNbD53a4TK6Hq2uv8oSwXlVlApjs4mdSk+O/Eaw1McaALuuYDbxac84GyVbwSxhkGJHKQzfRBo6NedTZB6/3zZ9kZpyhilDwhDyUqPbKfn76Z5I6XTZS99dazO6bQ+HVUruTMS/H0BoTYjoONbzj2AiYIZ0QJ90e/uiVkM9F82DKvyx6lcecmxrIisgz6+HI3WZyaMb9xtnbzpPXs5H+jzrDoZbgflAY7UoaIlIbLOf//Vtfd1UJhjvdXbkWvR5X49wVM91JvjAyGS9p/013Zg2w2pfbsVx4VXJtf/9lw92aa2mhwEMQQ95nHApVZBUBBga+lWteIeu8/UpkGdzIYJtMk+UgfTNgebXuHGQ2V22dU7xTbHlE2qr8CsZ4+t5d7UTD9BN9LUvITK3qkXv2u40uAyuutHoRnctkwvPYbtIHrmL+HYwezREW1SJQokFhRNo8EJ0bxtoW6/hZmlDpVc2GNTwSGI9vePhbTCA1ptuIPFrwrVgCh567MXfU83EySySg4nOGWR8Cq3FdMl1zltyWD3ngg/2tmuTso0Uai/LlQKMm44nXxkNcfhHTedeaSdV3lu2ddV7BCromcOOEOZzhwgoi/070OGp2lWh6Xa/qO8+PdiyOtPi7sMpj6+BbwevFDYrbTHJ9/FN7aUD57T7AafzBa28sA6qzEjqCRftvOqW7Td6X67+4jUzhFJKtfQJapXuEPS2AjBDl8HhrFbd2cyhOgNROZffA1Qm7l8FgS4vRjrbiDMzGHKAow2YHzAnZqm9jZzAM4gMRr3ZbiE6DxT4JAFnzGCcIuFXWZaizqipc2ve/m+PK4m6tFMN+yh1h5wQbd3sppqW/TtJMZrt0ZQIr/SwcwOWB8niPBUWfK76L+dn83eQVw3Rg3QRcaen3ooTncwpxxR3rEUXCEZhH8YL0U+esg+ovi6YcgtO6jsoAa+fcfHZT2UMmtttyfhR6bU0BwW4sNR5I1ipcsxCgtdIbNVEI8xscjltgBnv1Dh+YM6lUC+W/E1vsX+uyMZfMMf7mFj9P7lV7ekL4L1RjsW/xS+4+mb5hXTnlnVBerQ5kw2CkLG7B0N2tqgWUQpuwQzB0wja9Le+Em5W0CgoojldLw+zkXxqHuFlLhINpS19VMSWUZ9Gb9fsXsnembgRNTWnZ78vFt899cr/JmxV+wHhXu66M8dYQoeZcLdG00L4myQaS5ToHE65bUY458JEtL9MGPnNmqRA8QQDzmzT+Os855pUFQ9Ju8iHNnGOF0GDKlZGVGgxPZilZ/kz6wPL4SZ+braYAOewONKWwvJn6BxmED+HHuml+ucoHlPs7DwCOd64IlQr0byKXzIXbnwE9406tPWjMJEkgVWJW4NxBlMymTiw8pCdD6PnfwrNJ1JTNeMxC1yJYq+GbZhx1DLf7EejGD5WIzkVYvcSn+Y/KbNecSYxjb1FLxao06rIZFvlsTwgOHqWmFecZTTAMC+k5vJmL7r3wx3gsxMG1QUFgGU37PbtrB/0W8V4Sqo63EJnr8EjPDmOtnKh6v7RqOqg/452HhT5Jftqz0DZIPBncknlmh8Tl4hLoNJY/48IxMMtib37ulehyjsgk6s2sh90Mj8FtlCoHGrtwEhf+TVkBEfnxCrqWjsXC6ZmaTVZTvX5WG7wN25e9jGOR/Qeu3zsqRHlQ19O54G+EPa4yFOUkEyOZlC5t5XGeULFHR4D7J/Vw5RtdAoM632ML9MkzjIU0lNnjElQ6/nzNEGQ4Hpo3Gq2MiVCLoei7IUam+w0ufSvV2NYNxmWQn3d+LIoq12XdiNCE1UHumJLueFj/KuhpYb9kAbjCdnuOAncxYgymKufVWbt4eMUKQgrQhyKUhXnU6yqMc9aVixOXf/jmSF3sOpy1xIm7tFbkDa2sHE7O3BgAiIpRImg14/39HJZd9dVH8hjbxY/pfGbUhfvmcxjJRDasMRx39SKOz1xb+TwxHu2UjnP+Y4bAiw51SBxUFpuXRA3MDOB4uHxUKUiK/9FkTqu6r99y5ODG+TsNUdrTzWHUMrIHyax5D5hpldLRnPvgmIQjWMf2AAyqdcKWeUcb1iUOeJxKiQ+ZW5QKkWCQgqLCWSGdx49iUuHtq1kP0w9N8PsXx8w5wAjXyxGxbIkptzhHzshwNWKJLGdl7lQw2ifjaeIXjEUNFGRdlQeQN89Eae4K/xmhY0LKT6XoWGCO1Cmyp2nacAeJRGYpz/kgmPrVMvkE5QibpWx1Pn7IT5dF2YIkyG0UtWBHFaIu3IgmC3R9dWD6QjQbgo1lPgxP/3sfaalVb3MJ/PggEz5tsdWPvk74KL7rin9hb5pW1HJ3ankztDTYAWQt77jnM6w741ab/McbjUsCzjmwS6Nx8jyAj0ZRRmxQOS9rP0Q9Fg7j88aZ4jpZgpcfDb2Uglf5shn13bwDRyoqhCvttoKV7MdYRab9TPZr/F81P22HcuW/9azmp+HK8es33aM2xkexxg6ptAtkeqhmoqpHcTa+A93ODD/JJzyAY/M4AlJDm+BcS3d6W6wqt3/QQNnm4s6r/NMU9qju9uGYQIB0fsQYXPJIRrpLmm4Ua2qgbEXSEqfHWBBye9NkOV2y4ILdnTqZgqziYgXWh0hFIUareJF8DytGYEmiMYDMfL+mBUwXQ+gjn3nA00kZpWo8B6a052Vi6HXIhHq55ydpAle81/31JTEo/yeFJItEWvnYZQi28YePppRh0UuGsn95/7g2d3XXRp4XAJ12hUCQiHij1mXPwfM+XY3ZCO1iS9V2gcR61mgxgNtLwSvIht8iwgd0Q2q9dfhMvL/rciHQrAMsswU1hvGB9uuIBsrIWdZLz6guKfcqxmuTf2fossl5QOcBRYRIdulAr3xx9ugRbqsNgt2Vheg1VRAMRQEXhEzpBh5GIQ6TUxlwa1C/0nJY9yCIPklYaTuNbPe95OUYDhIUTqBCfsbgT9+IkE8nPMyATZibxhvQZCOuo1e3JBBFNWqyFwjmmn4lQPlvVRs8gdIaFLOwMLHewqxP1MuiY0YcMw+tqwumpCDyt8eeGfIq3/xMdUF9ok46sn135aMjJvZjrHE7LvHHHcl7n0icGItRvw4DYj9GJ2QCuEvBDONkxAgTmtjcfJ0S7YuIxjouOmF66FhojYe0ky7B7U9VCRJ3zFcVwAxPRTM9FKvUvYEtdLBrIbs8V6mty5WbC+9hy6bwIPMm/3OpW4vmKDWIbKUTt+jdAoxjpUIst6KQnBUsEHOjNKmXdTJkGoMigAGVcW0dFN8rO5mMimX1+wxCCZjt+VzWNHTuQFLVQx5vrBG3cVky0bSmB7hiCsT3MW8g0sVy6bHAUpTkP4Hgx7AUWdPrB+uH2xqUnvTSFAGs5g91L1IVcUC088q/MOgmakFQJvK7a7bKIqoNU1Z9+uwdwFCe7T8aPrQeYtooHDNRmcEn6jynLzElY0+FKh+GBg2kL+q4Ww+58kc4y8TRu30wyd7UZMi+U/eYFS0ADbCgAGJfYrohYn/t36/35rIutLHL27shDkkFSZF+/eTiu6G16L2P+eFyNcgr1kJZDmxOSdRkp/hftpUnFkDIQwszcJ2stWprRO9IRA8xh2Z/s+/FfrOy6uVmuVOKyTsO/ue9CAsHPApRzThV1XqhiVCLtVtNauecUqESUOUCmIpSjYnKoM/1VutK+axfiP+xS1qFoSTJb9e0QKMlZTS2YYMNvn/TfUqsMlSejkUEyXcTiIg9+UaR8nTUjkFzwT8lYNReAx5069ss78FkqT4nOe62Ta4Nq0mvu/RhT+E1xI4h9/Q+BmT+L8jzO95HMagYiZgRBdTeI5sIBwvKGpLMOr9OZDE8nHo2sg0tzT8ye0UrVgNEoy/U6I5qrgjq4SdGLiFoJJZgd9fpUg4R/93HOVB9b4UMquJ4L8iK0ZeLoUc8x0ULEkvMiMZk6wJ2nisb80gJ8DXGIwm9XV9tUZjxNWn5KXBwIrS1yuHHJ1q/3tNHeg58CLH2kIh9AE4grP0eS+lezy2Ruj8do/sqxEjzb2aIFQZVxiLBFeppFaKdgfRrShMPBAPj8OH4bnC4Qt15OusbUbPPXPw9Oh+nEg3dvUL0rTL0didD4icpLOHkPxGHn+a8GB88q1RQk++R59OIF23ccQmSFCgRvsRDGrgfDhrYCp4eEVjIkwcMjGn3AWM7RtF6OZ3PrPdB1nFUvXobEuFUy2gUFlJrp1QOf85k0KKq6kDVDIz5fi/5DNGYvG/6RA+wURGVq4kjxP4xzztxof9UkUusXSdZ8mjq4OdcTGtSlaezldvdAWO3p4y7lSJKeJTfu1EgZGyQprPQITcppMastK2O0kc0z2RmNVy4q4JiAnyGgLpxidERsDOHnVBLvNjeRvFHF6JndqpdxjPQiI4OrBheSQmcKP9fTGBW+8A2TvV3Riob+K19D7n+XuD14Z6ynbYXlutJof8FrQ7JcAftH7knKZ434BNukN7V2osYmjCXZyOROOZoGyrtaEDLZkDW3sd7AxKtXWIXmjKj9PSUpU6YGYFNzq6iLV4WGgoTsOVCIexYYuAfMTwpoGAXnkKEWayUkdWuPdnYb7zAsRMueTCm1LlqGvSRR4VycUH9PVWkdHmADmu5h2qv2/z+hPVHjtqsszhNSTH2xdd5yDJt0heqpIqFoNR3qZRZw/TkotdfAKPRPLs8PBSPWHmNydURXWQVgT4n3zTlR4UdcbGT/binZDPtauQaD2NqzH5hV3T+UIYwYlSSu37Wv/6HZ0vI4aTB2rglAoTIYsCsnE80q1NzJp4m/ElgNzLXfzmTRQ2rO8dGeOyjT0Kce1U3XgPXGbeIVgJJhdieS8Zi/63/O/XoX+4Q0maetwRHBR7hL5XA140ymkXHW86+AT/50hZaJqoovgQLuECwbi1WH4DU+yvPm5kwn76Qc58rVEaKgXVDRJgHmiYadHNc0mny7bN/E+9vS6/ZlWcK7iRRpA7BPkepj5rc/Pkg+mahEKopigy5ZRygvWdTTlL202JkEDFAv63UC2gE/XBSL8/ylbVXTS95gtl9tN/IAwqZg7ebgYN/n+BJO6vCmeXu2i+TzbWFZtmRYv0JydsCYPAet/dlUOb+0cg3pyQWA7XqZVaojlGa/shgZdS0lHjZDBMiNk80F22EA30QE8yK/ogjgH+9fag2lhckGc7XCpxQGgKZOJPUMdwskyha+xurPT/R5rEd3I0H0EnnzvB6jrhwk3JCvuucudFwUk7RwzZ5TbLnn+MtUIPwZSR+kY17tOMnnrbAIiqR52q0Sy3hzJoXTV8x4I78BPrE0yQAmtX1yARUPTLLeFDgV01+5QkS8AyfP+Szn6W2uGdDQEpvqJ5meKQYp3rdj4zR+Iv5jD83EGwYm4MJNcyCd1DEYYzloHH/pw1IecGqgCijAccMLfsyzUwYd+m08FDjoTzA5k/5/6PPhKk4b3Dok/0XQtyQKRPqm+tb9hJhHI4SqbAcQ5S95Fv9ru7aHfNqsxpPhx4/UKU/1ubRMjLjghxfmRrKxndXuPw+7hwMghXhUdiVKCzXTt0xs9+HARYPQFFiY/k3QOtCUsF57R5gzoTwzXvKv8wmn3Cr8LxHgBb3pO/pV3yoS/IqJU6ADftbjUrVAHm3GXb9xh93quW2CDhi5Myt3lS1YIs5ZWTpHz2H6nHBPFBAU+6laVxsiVKKbh+cFrtHRHYuVzTifmcfr+g3BSGeZJsV+S2pzls/xjdsKaV5H6qxmta7vGfYbV5jo1ODC7NY15tFCz0XvWNzgGaNJjErVOwMUsvLraUU5QNCelFBQKgp+X+yOOs3RvXEaTCBRSIsWe5nREIDeBbYjSllO9JxTTMvQXejwyZtBx7B+/mucdwvqfokRBs/N8WUyKmvb3LVjaEqAaUROzP5h+qUvOqFVSbFJvwB7C4eyJQsIwS8y11ogZKlsbeIMacYz/kVkw71irWG3kMQkxqlj+oYROL7/fCUCNX+0gdg9uDymzvHm96q9r714YMZSz+94ZjhvPOJ9rtqUZVhzlg/mZqccked8Vkd/bGBr8E5je/04ROQyIMOL/SFwpfq60752/RQQJUbY+xRTuzN1iR+3PzBP3mo96G2CI25hq9cIxD/K637I62F/nlkXta2eshe/lR7LJ8YLNbmHGOQJguHnaH2HgWKEuEAshi2qa2ro5Fm2V5AOi36KDA0ADgr7l71570vhnIeJ4wt8H4erLOeYepKrroiH+MDQ2OBE8AYhOQjG9WcIE0IVoHzo1vIFyRtB86v3oHTdNHZ5PqDmvGDvmAlIkM8kryAhl3A2PPTJCo6Hh33qtlYYEpxPFkIDRycfAoeJuRJLmQ1qCzXgxOyCQUDk1t/sBfOuRNKF4+7rsgimTaYd1UbTNi6QmDiWHrmRGG3i1svHRuSqKYKCmfISI5Y/g7wlO27Ikf6YKWlLXc2sJ3bSnep6ZP5SbuRctwNOd8W613xB8HBLW8qgaQPQvAZNdob5CJ2nEwvbKNmLyo2/hTDwSRSs9domDYkNzCDw1lgHbYJ2ZcfSgG+S7mzhqrIUDpb2SvkwIe5QbRq+RK6CDKHTspBIFlTODTG6jsacaWSMy9806hKR8nt5EzYwaInPvz1L5chnEIUK5b4bzqD1sj3Lr13Mx4NuaBWoepWLtAmZnWPclcXlZL2Ji6weAXS3Z2dpCX9eWwwXkDU9skSGffrUPgoaonG22bFm7AlCSQjZKNl8j5YCf7xMl1SGwwJKYXPY/wRUsISFi3wwLD5/aXgNHLh5D8xcLW3BdwX2W2FdckIlEzeQImB2LYKK+axIcCgTQBTcVv2mTfxImIKOX3W5CqxuWzw6RXjlsA2PCG6PEVB7CdE3sFHzfJ0sWo7WWiAyeptG/lUVzybqYN6xWLvxDjGXDZb/VOLm/nW4BYkWjWV/A3rsjHBcZQThzILRz5cYOYCKu0GNDx0Z/E7KrndCr0FjlaRyBK5uSSlD8YfhkvMqhdvJezNjwPh6xXbYkiVBP75woHrH8XtYwVbTOcWxaGavQCMeARNumpM2FeDc+k7sStqGY1uTteZLfSbo+uoSxf68MDvqBMvou+hBe3Ghdz5pd1Cr8MHjrlu1bHeN49Ok/4N1ccTaUO08se9+LHO8sNRwiNCL7pRlX05IapJCXVxStWP26g4Q2yBGR1kEP65KL7O/4kjS42Bs5I30OHyq9DLS0jgiXcLVJBh4T85q6Oku/ft5TggsnscVZn+VdJ1X5huORy3IHDFLDRxBgiJjmos+RRdZ+Ee7us9MZrQha16AO/6cp2go0Z4IGBdO020MhGaZpzBN1Y+o+Ez9VCKQdECOcn01t7uifb7/E7ZBCQrxVjvABhUQGJU8tPTimTAF506rKHz7+l3+qtQTkfdRUfL45EJv7feuGcXZSkIOA3q5AwtGtu3FJNNfyqVcHmiZu7RxOGLHMU514VjjRHGOdfpFoY96yxyZAyl9WyZo3DnKEBHMLtsN7f09ww7rNyKd1m7fKJTk2mCIOfkNs10F/9hnUZ6BvoBk1nhVCORtGyWNpUsLwC11apKxX90quH73egSLYrAAhWvzI0bs7nW2oi0gAG/PclGah3Zhma5EYAJ0BE15I/THFchyMmHbnrWdMrhxjErYPFUjD6BfoUk1u5lUYJmVEJluiDngmN8oksMm4dhmuqT7dLqntFOS9GezQDH1lHJzeOGj3c9qiONlM2t5J2KEIbluvifYcNXLV7fzwlGU8E1A4I0AkYWO5nMo8xtTd+ZMBBjug5VYRRPjDmVGQnZbCKWpn/Jh5kP3C+K/ZscMibCwhAGw5f1BGbCnv8X3K65jsgesR0mQww/+rkqAUB29Zy9VcBDyt4mKRTJ1nDBZaYJGbxcLvhoYmj9vbQDzCCakU5I715gm6ViRq2pV/75ZInASkOSSKCzmCeoAW/hmkbonK3tV83We+BnXuiq9s95h/dH3ogGgL2OCLmqePQ5bjIWtOH0TyDNE3vcLltdaSuZPNphwLNDeZakVtkGC294Qd6r2nw9+RIHfsHWSzBExU28RZQ8hbNLjwzNgqrkLZ892gN9YQVcysfZE0+BRr7dk01mIDgJuecSA5b8hoLle+XI1ZYdP/bM231zwHXxiTvgi1Q+V/f8drVitAL7B5ekkp5ffeHJA7anrIGZIHKrgYpEwG6W2bGcCn1hO3lbf7smja09wMqUmGQw7NYgiptSCs2RvPdJjjrJHwub/gytl3DivGthJezzzmY167cRpFKj204/QDePtlyA2J5r8KtR9KQZojlC5MW8diTy2u/rV2mo4LNKUQYBqwvg4Bpmw+JW0VgA3/r3cA0rzfgzFb61e+92aTyqLbzl/JRIzjsJyS2ZBGAGjV4ZqCWJhB9c8r3WUInJvUYj/1XQKEZPx496OscvluP9Aqp67lSAWCoj5zWaG9uWLJw9VdIXjWiXSGZDN+YVd1iaqknDdoA0d6ZPiHR0TOuFhLzfmKvVFHyQsUeSFxtA+cMfc8G6TB7cBqvEFv+6bceOureNOvTxBnm3uFZV8r1a4EVW+iP48L9HcJEFx/uyVpL62FHcCkPwRC0sw1ydzoMbjnQmF9P6+cWFXsY+dXp3zvbUKsvA5t1AKmmaGRbw5eSlbVAwIgMVEan3Y1CbefoECJ3W7p1l2Y0pGxjgYszWyF2eVGfbYd3mQjfH8LjT+9dEX7LsG03xAGCqRRysZvayRR2WDdofpp9JmZB9GuPO+4WCgsLnUsR/rl9PGfzZkuyvBYfqJwWX/dXyUwtkHZP4NDBZOA0utS00a3YrobWEhHWQkduOJxtRz8pS+U4JzPhCq3/gOGnKRS+prIDsOKpkm2smdhNDmBd54F45hHOXHMp7y43TwjYKy+nBFLfxSwbyZoQwVyrjL73TB85rMf2Iu9tbc2E9QYe0ho478yLVOxKtQg0x3B/CCC81b6FrjYJvYYJyeD+65IuJYzTJjQRcNpR8lC2Pb9fA34pluRH3dPnHcFaWyu95azn2b6bELaj2AZyDh3dRa3hDCtrGNqf4EQFuASVxTnwjL3dRll2o/qNgxa4WYJwS+bckZIxUUx15sp1g+l5wA9hecpMdseu+loiXmvMUaXjJXNqkI8fnfPzeE4/pAu4jFJoOo7anrHb0n0ansDZTV3asP11DX/uaCT4s1C5V6LqCQYdmz7AFZODzkxxgH74SkWpZe8FpJAluULvdrxCHH98+ZdszHPkm19xPmgbesHXQmcO4zMZR6iWePm7Pub0/N/hfH4tHHhyw3FTydBp6dL2SfTXRSDrOjZtM11FnC7RaH4lMO3Vk6PHVR/ZmS9ImSof+/wG16vJK1W+ECWzP18DXD3xfsW6Cl4Sg3ZvTwp61/aeIcWdwJFBzjohtNFtgjRouNaz0vcCokGwDuBubPdzva4OVOq0jsNEwEOcDGPKeLFB0XoPNb+0g4zHCJ4p9MnTmKZzZWqa/6ssOo8pnhHwqCBVDYc2gh9dBSWNNX0BipBO/tTxyjcK3oMIuwr+nslJGNVoQSVC669mWRLHRdb/yH9kuh68BuaSwtDWMhi75+8nmPNCulLnwF+KY1cYwwEY1+Ik6ZraeWbiRZMGXYVfCZccT/uuf2MPbwQw9HwE/tRQYwGMEVr7eqsg+XimWRGpIV9va5ZEqDwlldrjKpIg+yqvl1bGXxt/PFqEWMHTsFzMOH2S5OwBsH2G4SgnxSZyHA/vbDNMYWHoj2NM4GLQn1qCyM0cGpl0uBOzk+gMF2upknqdzJhSaKZOz8rB5YTWpYYa1bXtnEe/SzE8i8120DbCG2Z8n1dDKEiYf5kIpN21Zy31mIWfXbgOSRxAaew20VAuFrOaEiHGKljlsFyLhgPNSw9gsj53SChkYompU0Vg8S+xgb8BcpOA/D+09EFXTKiv6ouM5RHMuCZ1HPh5RKVkMd0UOn1VkzKP2qUUZpBY93iBDJJxCHxa1Njdyra7HUlvYtLp9ENM9MuF+cjvfWqp+wsz8eLAJ3Cu3NYs0OUv6EqcvSs9ldld1cTmy6cRqV3yB7rQYa4KAU2H+r4N2wEM402YJQVBF3eMGKvZGXtyCLIab+0VfIIur5R/jRJF6fa6kCDqqe0FxOoSjpvwsyLDo1fTWFVDbzXmEC3W/Df/tJNzOMYT7s/VPJodmIMvFxFkVl93erGcDJ9kqTrNPSNGQwZxhb6HyrAmnfrwOg98+oeP8N34mWLjaka/TW6UVbKn8lMf7SDdcM9DqdcUEc6XMJMvflFnOhLVEDLVm0MpTOJK9tMh2REZ+VKrlYWgFkE8iC5dg9nJzFvbsozQf03/beG/VMX7oa3jWNTZCMy9Bwsk6zXdevVCSRtQ4IAlJosCjOtAKEgTL9sozk6e/76nmWf7669wqvkCuPZpU6+iJE/Hg8t3q4tZF+XI5WL1DP+UgtO9Pk7K6rPjPVN4XA3/WuaLFA13J9w86HZGU52L0qnA9IocVHzz7a3K+5bDg6267gXSmDfWPmVcxnxoBuvJx2SdzJy0bxuDbIt+cKjgUfNCK6vt4yBjyUPHANRyoQRuBz7v9wV+frPdABqKNVOAJYdaL+mhEbCza9Pybf6PqNJ3BGBh0BuS2IJevQZuzBy5wryhLPRJJqvvU9tHArcU2yx5QApSY+4z+brHnap+9x5p7fR1SYc5G1BbG5DsDdiafvighMeRGG6jhEqWwEfWV6h6Gvqmd468gNfbhuOZzUdyXmUby709CriBc5UHWNZrUmMb475w/9PTsD2zLrbn7USNYURCAGxf30GfDxnlmbrBd4Z9WBuuRZ1a4aaAfTyHfni1+q3fpg19jHJaKYyJObTxfGGx0Oi+Woe4wFBvdWI/RCwJ1egRtA9TL0NmFRQz9tvak2OF5CYzuHa8iSOFABvKqp3YtRWHV9yPFw5BkY759GGIqZi0qQVwXASp3Mjl6UworqBi/HTzl1HJgkSlIQ/044Uv3aan1VB6A3231hzVG2iURZUfT2Mh0WPWf6onBo5UpuyNBlWI4A57yQPv0RLr/mnJpYIE1W+fgVAEiNkV6FBiBjWzbiFUw1O4d20/CekUhzJVF5wixJtPOWATIbLaVwf3tmzCJHlp0fmLlKvxgMV3acOC2p2TnTDGomXl9kCF13FpxoAipF32c9w3Bo7cQjjKQraqLLj2hjhJMyM2J53kpHV61TEWhDwcex7qDbMudF43kJdPqnfPujMJWsz1Gzv2RIt/pgidZpiDeldHD66zogD4f61ThbklB4EB3yYH8fXwKsoZ6AJLzK0oiTnGUqVgb03UKUSYhAhKaTuqaEBrgspmU7JUrE4Xx4sEm8UGEiEwF4DB/HBV8yLhQVvXgA7KKr/iKX+kbeGFfaAgGu80QKXUqR4JIlVjy3YvXYIRdW+XSRCucALSH6+o38u3dpdOvaIyqKf5Tldans1T21za67M7BXFWa5MEEgQwFaOSjFv6Ue76QRjx3MWsVwvqrOw0Trc2+6Jq8ervd9N2ShFaOEhmsquzWvlrFHKmu2HV3pvcOzDi3+UHJgx/SrbwdhY3BFDTNqlrix3MoOMbrIXNbouwi7YF6MOFw3aHDK0cU1otpg2B1OFQGliZp7eV1radt4O5qGpWJLi+1xxaUZGQJcOK5UG2FPoZ7YbeSyvglG77yoI1LjSUtkgq4S16AmdI/GgiiUHPfc7lLXe9F9+Dy+nEgtiso+yLE0eEzUnSfXrZf3WOF+ZScUc16YjqgbOKwcJFoDH8vEX7kSvZOXQJzefHAEv2dCCabxv6puVai3HBqIuRLnmeXZzfm/1PV/0k1NuaWlMmEYzG/bWddtmI4xe0hbwDPfiUgkK+e8YA7uisLOeKVDPR0gpDb5qEungVYGYpQT9SniCikZllh67OjZ/o/9DhHzU073Y5DYn1AT948kZluYX2UzJ5+xCVMGBtyPxKRcxtPRCzmn86gFA80LYcDlLbIeu4EPJv4x7BxqEGsqMsF/PZKgP2t5itzXycfpjhy0h2ZCHaj1IKBEv+eFVYiQ7Cgjp/mvRF2j+6MlpHWH+M//RLMdEgkZUldVh/wZ4lgGrnOHiF76IFd66/G1R9bJZpNaiH/DkCZfI3V1FlnkFxvRNXv0KMS2HamZVfb4MrD2FFwQzCX9ofm/vbVN0uawURgMKjMOtvxtfcHgYewr8p0eo7eX/IZA0LQZE8iEmd6ZcQZ2qwDFabLin3gkzcHVvqurbkOwhF/VUaRllQ5d0DuOvgQ06XNVsLGrIfjlWzXoR4w/TJwKjIbIXpGuN9p+iBgsI0eFF8Sa1FDLrFTJRIUOiPbFYaKzjVTUzthdLuS7CLu1lOiO6H/c6lyAyqYKJetDLHdB2krS99cXPhbYNJinrEcK0UO4uiXkEE5hsoif4l/yXUDoO5/M0rbI3G5IY5ydYwwbox8PWcYsDgn0TKCukFk2G0BCUg36xYpESYrrBF8ICsrsz5rHGNiJ5a3R2P884+Kfqe+lV1p9nIfu2dYrKomKgiUJZCX5xFJgIMZcn1B8U9Pv8ASiqCfDeiUBw2D3sv3E8DmjnrPur4ZqAK0gQtS+dbubElemr9BNdV/EqGj6+mkZUueNq+2P2qS/vq0sUBMJdDSzsf0LjUMReyzt0TZisCaRk4uWbtv1uh19qggK42WWnxZKY6AZe/Gn3V2bgk8+EvDti3zlu0eOiGSFlUoWzggGq8CuweONuWhZunvQKX8V1f/MaSM6RlMoXvQW4J3VwWSXoB1hlg486LA6Hlnt5q/VbTvGOvCiTdHDplr2v4raZHFr/ZIRMKUlUg+xhewNOsvVe1w6JQYXFfdroP6OM3JQHMXY4DhawkjfSElmZzNhIm8nZFUEj73nNDxTpqWAWZfQbkXZuTRj82winiPpAUn9U+95z7D5lyz9vaDxnngpL34chHqVijGmywlzO/7etniG18d2JyP59yP8qMnzjlHQ6V6iHvWU6W00ADNfpqL/d+xz498I0jupc6nZ4wS+2sZwgBaa12oVw4aS2WY8cayKJo0uSNKD7tDst68kXfIu5tJvuStGqiFzh/JnUbnd6X1cxN5+jz5RWSPSIvNCCujF2PrO0ROkZwSARC4rDE1NvlWPcl6Xl6l0DYJxoM9YA0CLR8ifcwZ2HPKE+djEgosnhECz+iSBAfOgFwsoWrOpxPyllECZSDjr62f6wEOBmexZNYa3kx9ESho+I9Ad9CYiu5BWN+iB0pkOPiL0zY6VENZaqcBIcCpUsX9pu+BULPv3RB+HUYYaHdzxqGM2V+xxTbsPn4JnF/sK/Rs8i8n409tvn5F+mPlHrWTcuZnnK3vzKqnhixHtR/txfo8qA3rmru6ud7bOLKTugtfHDQDabf4512g7RvFyZ1lfIiYB7VWkJsNSNafMSFBI9PdxxR2lSLrz3mMlQ1Ka793TvUKk1Kw+VsPtLRMGzAlqpdewSStl6irS2gZR4+ALy5RVFTwoRop2sh9bN4oq3Kzm8Oj1cyCnOrxrOIcOcX5zfUaU3S8J4lRoKDawjSq3E4iYEpzXjsR0m98GiijiNZf/zlLioMnmFP1+2U7xTu/TVt7fmFU56FyKdS2BGsY3tSCXpKEhJ8UBcuzZy3O3NvV/0xYE/GuJpEcSKYMPJ9xetmCIAJEz10oBMYHK6sddXxQZWxTNeBR2RNXH0IabFJ+cJ/i5uQGakiX73yHCCHMyLlizCMUGitUBNkmxp5+ivuggpbrRBUR1BLcdjOXi7B356CMzRIu8vvidjc78Kg54pNajXeark+x4UYTQMIylPFClI3NJam3M7zoc2jtrMJfuyKGO2ndK1rF9dcf2eW+3qE9wdJP+x21Jed418aQMKW9yh5gCPCiml1K+S8uWFTtPcNUxnr97h3K93WKXIpVlW6hQpSEiNU6/7TmnrYtsQaUCKa7pcPbG2ehVhy9otFrTATTdVjMgih9c17au+TMER54Vn/NBMar0mNqt2V/FeXhWCZkkiepn2sweknwVwlHa8aQqPQI7PkuTW0LwjwUYwkF7sv7a9mF2G9J7PH787chjw2aDhz0YKp6SiLhJwNeqPXr83DjhsgkVSPtUKldQXXn7g5qkEUj1e+A3qtJ6Pgq8HBCfn3SggPp729/QjHp+nGouKxwBMI9Nj/YlAckXWZT86h0zq7DYM2NMwW9vdEmXYkB1mhvSIU0CcMuIkrDzUjyYwfduEgKwb/K938pGfmh7OTTyzEp0q4cKc13oDEnVhdB5upwg15sUeK+k0oVttzAKkXodgxFYQtxfIycxB6O0whGiDYOGFbdgucMGm0fboC6gZcZ8CyFGZOM4BK/+Asa3MYZ7QC29fxZjp7EON8UVXrcLf+HYVqJBD5KbDaAZ4SPRV5csxlG+clGayypwBsieXcsjNDPymHqMmbh0aDlf8TIKjc+YxinWfAyHurp/9c26BFW3YaZCruQc2McEN/AK9QuhhHemMG12x9gSKRrybjcc3L380RY3ds4aS2Fb/wPPmiu8kV4L/gdZpuK1b+CFHY4WC7ej7frIn6cqdRnGkylASKM0ES9VVUYqRHrNeaxzYEmU0PfsthzulYUY3XWd/Xzm/fSKYVJ5ZyGk9lHSIjvN8Ek1CM7xy4H+i/jJjmjivrC+ctCw7uq7j5BMSepPeXel823yKWiyQnXlvJptn1rJx3LWYkWOtlW7CXCu9f+9WR2Yfp2NdCrEoMRsw9Ft8sUuMYfFjta+Iri/z2vnNkpB4zyLnLvcziUKJgesyqgBj3VzL/tvjNa+KG/aM98uIM34KHzm96CbToWHw1vKkwgNYbba/PeKbH1sKQSXMoG+E0ntd7MUDh4XGREZ2bo0g5pzYNB8+ApFTrrm+SpAkww0CyS591/OMDKjjmPS475ANE6sYRIrG6OXqtmeTFk7ylT++mzGIg+tHK8gJI01g8xX26Ae4EVAFj/8leN3uyo3XiABvyJ0RdvzhjSOyISLjw9raPTQPE4T4Guyx9kHuknbswJSotW7sfzGYgfepBAC1bAj4kz1Bg8R25N8URYvkxzY2cU7SezL59wUOQpalM0aDFZAVRncoC0NI6g+wR7B95Pl3geJ4GNDVurS2OYq7Dm1oI1CZ8yMLkcmGHhDtFrqC2puVGCSZ2AbvW89F04zeF4PkkpMErBxqtNOQGqgshNPBub8qYXiAKsYC7aPm1OWCFb02Mi4lFFPCa0uW+UHRDC84VVrj4ed65m9L57SiBNX1QDoMYtfR9H4XayQyNL0M3hnGF7CtOGPpppr4hPU6Q4g51k6bI9iDWw9iD0cENCLzNneGOmUy5RvrAeY2Gp8NMdFpsug0cPiGLdQJr502U8b3KszqGmEdcleZhJPtZFwoaaDt8QWHVUFqOEJ0nO3tLrNAEUCVX2hLxUxCb4U/xto293zrkATUFdlSv3uadtbYC+O+jxzJECNqGq+7Fyymts2+4A995uI0a+nyFR5XwVm2EcJRfTWmn43Sxm29EjLxk8A1F0gdCrB6A768R2EEvy6f1Hq0O/8vTPFqCtBW/B4+9ikkAFH1z+I50Wkc+cct06ctI50ThlgAxtEt6QhCgwmRA42SqG2q2oBngrfanoZMy+Xpwsl07dIxDSUscuhO70ynD/bEWb3EsGHUcr+ZzlAeX5i6fhxj5qXnVEVDMFwD30uKKTHDlHor4Kw6egGV9Azursdi+HIi9e6sUYKqwS24RaQPpkfMYn0rMxgkU02ZQb4cf9zE6nd7060WmFhGft8c+HdMsYizIZ+H+X7wkzhGib4ku+Qax41Su7fbxE481N/vrTuwpr38LI6dSmhwkXMpgW9vNZlWcMQE4T8rfss+r5AlTh1xuFbZp6hbnhQDLXR803WLsV9jgUjJ+uDhLfWfx6BrBh9ISEkXeqjYRz43UZf3zhHZHI8Awf1Shp6KJ+rhEMbZmOPiP9C8UvurjY9weJCC1lbeLxS9X8cCCl/kYHmdiDDXeauThzOHW4qrblFVsirj4lt60Qg8by0LLlbPVM379JV0/OJreFldvtwqJCG7q7yLWCsCQm/NmYFNZ1S3tlSC3Yz9W1wl7VgsuXDKIpUVBV85K1qphFMZrZPlga6hUmztslhKh6RVwSxUb1bwmMRe5aFEoNbmdR+rEQQ25Bidkre2qGoZ2I1UBR5jYLBvGnLnlfCd/WImpYh23H4v94117InKCNNCh1PeRI0n/ZGYtxXb4Ld7VuoCEfJ5wQPPrGdFjOWSv7P+jyn2xKJbHI+h4HPLyYn3zb8BDIwLedZwscGgmZ6zFAOpH7aHVEUDp5AIhlUGqojyzsR1bKgH4868es3wwfa+aCvSVbaHlme/IgpUlRUOvIhPUlK2F40WDHPST4OebGTpEaydSIaZLSqdZuHtSukkKiiQBb7Br+L0YUluzy1OLHhqzUfraLibuS6le3OvbJ8oe+HJ4DtdQ5MQ7AfSME7xvUXlT/ciUaVrAhkxtBoqaVrgm9X143Kl6uFJi4FoBiEuwrjEa+G1OXOm6d3jjY+rpH13PIR22DIPkS8TWPnIWarWPsvw9gpe5+HKTrGJDMy5TBkb2mn7KtSzT5jO1poMzsNwPlyMg6kFhUfiX59j7jdSlAj5oY3CXzxtQFVTUM9+Fi1okFpdQMX/nmghX99lIT/Z/VDO/yC/WkmwFXYgL3wZF9f1FCAk2t+wAAdzwxTpwQ2D3T4Xdl4KRdH3ojzKlT0vOfExosYbAixluQ0/cwygHuuRYNPAGxS8qEk38gsVahTkCI/5PVKAzYvE5AJ01HiD1WBkWHgNyJVHiQ5N0Y/OtdNM9FD1iPbEA1udPJkRBSqjQ6SkDLtaEm+Cv23Qq/zw+3atmhXZ6IGjFzkNQFMQa12xff+jte36M43lE+Dyut8nS0z0vjPG+MJXnLhLI+HF6JE+EjmZzl+LXcbKfC5pPfJm4f9cjfUfVSelJOgZ+5ebBWAD4aKI+FAsO2MXpW/MfBsmld5o6vtnDFQiUST77RmdKHNZIQVtCsqS2s2Tai0LX85OrHulYMe+yac4A9UzjIjRvgzEz7p/U2c7IyLNfWwWMsbZ3KKNEtBHlaFmPH7SnCqo8qsv0B5TIBhTYJjBsTlOh6mYCSjstKAqCxZI0R+eJa1xwiHMjyrfvt0Tb+SAK11t/j/a9QbXtLbUaZnF8ti3m1+tbGG8arVw5f+3nABMMYFL8kdo9rxLUu73b+7FwYYYtsY3fbZNbobI0r4jUXWoRgZLFVJ10kRhhTMtLgfmtag8B8Aw6gthtCW9/vToKY5yq/Z0d5Efdb1lSYvWv+tFU74EwxBSF5Y961ntFJCxPAEbpVsVNVc4b5OURIf0e7v/s7YSZ/Iq0B19JcixXuhQo3nyTtiU5XWm6gjhvHzQlifP0TmHW+XxU2gQ2Xl4hNtDFTmlbP2GxyNc4EcJGsjPruOhn6m8Cv8jpHPpzwhTJflh2J+QoNgf1TlJJMJXZ3Iv5+xniOcjALH5DAhkDkt7qzWYa2QBdcolA7F2S09QuAoXoz775TOMOnik8D5+BNv9iRj+rtSYGouyxF/UO2/AyilOpuuDSW2e+mYd6R7x69E/jd7WJv6Mn35QzfwGeYa8dy8vJ3DAICxJTnOvzG+NkGAkt49YllWHBT3rjj/ZvKdohoB0Z2I6RrAYnSELttMT5bNQsTXRhBYkyZV3iEonQBgU/EsUBrLpWEsV51sUkRe7PN64Kqv/kBj9HP3h1hso74QU9RwR632co8qXb266UU+lqFq/YFvU1Gunh0R/whG2NAy18ibDKd16WGeCrB9cfuQyN0yRf7CNAP5q9UzqLruOj2IUH+w3ChnkT+K8wK5VdXCVfGL4KElel2DMDiI0lHawjyP9nLoFfqT+y6/WHkSR1Tp/ahzv0lmwbOYzgQJEp8jCpWVdzIRRLrQO25garnHp1l84N6+idXdlqARhqx1jcttC5c80yB0zCTM9RypRq7xVHuuQqSlctEuqzXh2BcpyPj8IGIHkpOC56WhK8HdRDNBseaEvWVts+Q+knhqklhCSsr3Y1EcEuy+RYtOeR6Z4Mu8M0bxuHDnb5nW7q+7AZ5cbaE486LKp2VJyc9CpRJaD0PmrMOOIp90amLuGeTdB9tZfFcuJcUlD3so+iDcFBCBE90hxcDtf9dH5FyRa7L4IsKrGdpcTSAUZ8H/FWmAUk1LNkdzwCo/c9wqw5NTakJC1q6yKTcITfA2RRtFR12gkIErpnTcfhZTTtKEsVRd/lZj8YpQFZG7RLS+rZ17WFWiqSnVCy64PqOHP2620HxUNsfXci4WnbmRH7JfDxr6FBmID5x4rMQNZd8egOWUk41seVQkPheLkwDfI2BiwrPFQe286TP1T31ZjXUA6b2qPbRYUjc5enofoZqWMvjJmui++AJlqDlNdgiLT9FzDsMf4F7kP01OR1+Lh52zbNhPW0nYfNxXh2MFxW0+2m+OXf3HPBU5qQSQlPz+0IedRAIog5Wo1UlFoB1v77AreF4VCf5QsH7ll4YoNiZw1Ed5t0Q8VTSb+LKcmDvAg2zspB2yY47UQOvHJ03lbcHXifkaLLQDuD+RJasK24w4cRMQlzS4oIDEW/2MGQdYY5FtdagZSzcjeWX5fzI3GfrdvMYK/UuUdcLQDxBdk1TSaOaKF6es4b/yWjJ0z6U3zX2F8hDrYOAopsip2z1YLxn3EuUQoYvzeA36Qw3VxRGJOpMyN3O64PPL/XhowGZt+1tPUADqLNwbOCthUIVIPrSIMQqajl6J+2WheKDsRZ4iHusXVD++NUU/EBbMoKbuYzGhKD0kkXKvSOWvGncAgGbxxVBrKwZVNjpiBfSvh9vhwuIr4GzeyZ7lZRqdyy4slkBn6J+p/Ep5Nt5Qk1+kCynz6nx4LcifCrh1m9o5uLjfhV2jkRlM4QxaavzfU5VlYOiMOkp5DECJDFfofGIzWIUVILuLu7R6yIaxIXFsD3JK+9sgKfTdIx2CqZ/JAF9teNj0zlIJZRQwXD8Yurmf8Mzt5rlfoCXalqkdKuKU5gthzld8jEu15F/SJItySPqIrcAC4IUbjo5M67VLzVHwxv/7io8nCsmhY7ZfgfwAhepRl2cZ+erI7kmFyIfxsMA14HWKSV2Zuclzy9x4qTQE6WG9a0tzjAZASjeS1EXFcoiMzAoDcBuhaXJcCIX3ceebkmSseOy9El1IKDtGUrex8RO2gZ+DC139Fi8A0zdPJlnzNvP7SE/8SBzVU71bGD7KTwBLAA+iAUWXdWjJad/dlX4NSHwAnRdYH+Nu8hJomcGZbEDVGu8f7jwGxncLFNWAuzIw3FkZUedcdclbLk81Nlp+dKWMwx4aqWb8kIDMm8Xb6pSJK2skkYXT1FYlX+iieHCSLjCnbZiokzjKIYb6+e0wjeb3CpILNZBTSYGhNHC0CiPUj+FpZ5j85NZkvs1mXxyWKezTadWxZVDBl9Dj/NDfU5Vj0evmBAu3A9lRNC6l95RCzbqIWIG29xkK59bHKxJc+lS4SrlsXLiKPdCL6ZSQU028MgLdbqUlXU7akoHXFc5sQefz8PG/QiE9mEpkuM/jARUscw8pqmOOHeEwFXAZSjAcpuAq3El6Ve5KhKg6/qxTapOIGVftYjN89qO1wWfwx4DRHF6j3BZSRvUcqa9FN7KHbOsbyE0sA+2izn90fSscTx+6PvhVxMh0jLd4xm13/9JQxdnld8ybEnV5OKi9gT4mbz/aZ3ZStwkDCbMsUFUncooWbALjbxO80zs4k8FVZEQLyvrpYEQ674Rf5EdVriWMzfpG57kYpvlWUUVTs5GnIHXwgE1fp1n5XR/4/Nz6+e0fe/MibjSIkRzP5ywcJvPBWAPyLo3rYFngPwXPqK56/wQVxp8W6S1JajJe89SmvHG6Ho1D0hOHreS9J9BsM6NY16ncM+vaJRX92V50ArgNs5PeLYh0eb5KQUbw1NnEf4YfcN+/94PUxeKAYOYmgg61yJ2bY1UkILIQM/tGjpVDMuihRG267n8jwAlIA/u/m6r93pSRM8i2BepaIkpTzygutZY7ISxrpXodYOH+lmImEY48MuG3fWj7cBi94xnBQ+p/3qMRLVUI3CCiDULM46VrF8ed5VX3kup5me9Ss5x9gBFTjAHwwLabSMSp7Wf52+ziHBqzEkujMJCwCt549YL0SCUNl9HutH/H+OME/URv9biDEgFjSNUDRga/5KfFuynQwOp67/z1D+mxOhW573B12Mr+DLkaS2dLFA0e9mXAW9Y036FC7UgC6ZZbougAJ7bYNCf0FtUAgdYDVXT7sV0mXw1niQmtnPSd2y88nSFSb82lsmzuqpAKEJ05uX6DtD9Akfb7UD0NdtroVqdn97OJSBpm9hVgf8CfQVkFql22CnaIvhMSKnNRmKoEQofdyBqCiP4eC/kP64SYt1jfuRr/yW36kOhRZY1ItDCEHm4sNbUIozQCvihHG/E7bNUjTY4RNCO78WtkCnM8KXFmg92DYUqp7l3dlD4gIJosic6Qbik28ML7BvMusoDXZy7bZzFEOzsh77Jm4s2UVC3cdd+VSCTLxQTmnn2ghHs1mBcOWyUmj933K8BEZ9W9gc+1r7iK2puYKjgd4ygHzdNxGIpjFeNMdxb1yPlD9inOguihSvKEzH1X5hXeev9k6ESjk97vxxnJb43fgukpkDT7vr6RoKX2WlGnuQ4ImWWxaWC67xCId2Gaihr0HaPBF8Nco9+PY5Q6MmkfR0pIo2/GBEFr20ZB6Pb/9CHLjW/UrrEG5k7Q+r3BIVsGjWvNJ5L69NcHxWpx9xRruwNdgLuc3e+mcUUaEEV4eiXpUhG58I5ryVnjE8QH7MFwuSPzrTYvPUXlRzge0NJIBG+SjtnhNKHVBZOLNWTnA4LLIkRFeTYXaBTQbGJQgBksgVOlNqf9iTtE3tcw8o/i5cM7wdo5dC4NVSc5U3FjzDF76VvkVczlhWUdknyLwvmUm4RXMjf55bO+384KPkcB7c4LQqE+662Rz6bDFfVpGGSXLNp++QCeCkzAnzV9M3w96glDFUdug7/CNWnk9V3WwEGp83WhyujA7F9RJf3bI8S8/YesHOIgQ2dqi9RI4nZ3KzYTdBZ8FDDxad3XCQY8PTJ6KlajAuz5U9zHZfI6GQx5/P+C5REjCFU72JcCW4YAGfs19YC52hLRbx6RYQY3WzhvOpaDV08IICsMs2T1wIaav5alYS9pOQwTrF6N7DL00JHXocz4rFbhQoRtrg5yYVlM9al8EU9ClOmrLsfD6uNBLPD3GwIb1Axfr/+rh2MuFUguuSaT33ac8R3TP79dGsusBA/13RztlO0OINTbZpQ9pvb9Va/Xhw65eb/ZfPvIsy4cAsc4gKPFmRtLUvpvI9cCjLDaV3t1VCEd/Jm0t2JdXRy+sk3bTo5+WCK865zVOOOkE87bIVQQ6UKHDNQEGXLFMMEAum4SJ7tALIA3EKkkAR+C570B1nAWT+j05fnx9/LDQGxMZ2o8hKxUTEYM3R3xfg80vKJpiPFcIiMuc009N348Bjia4UydyEJ8PZ5N04ItzS1FfjUtjS64EfiYDlVcEw9HsKW9X8XPGwvS/YFoz3wkkXrmkawc5ocmBDYp8lz7NIRbtvvuqbGRWsNbii16a7tsn5LMDQrFbqjdUsiW8Qybk7gwsTwPgT41SbzgBRh081OdYNXXLH6Z5vMhRdydb30IIW4cPD93PRR4lwlT8ezv23BgAVZ+y7XCELKyioJHQMctLO+20AgttX9HwaWNfUyPMrCvihio6aJ5bLtqX8xyr/04qy52kUZtp+qRQwtP5OJJAHMdg4UISuotw30ku9TumYLW90MQ2RgT5k+ug/qLpAh7dWDe27ty/iXfBro101mMITvkSTZXXAcZZzCx0EG6jl5L34JZHBMeZArC2ayq0P7wmuXAY6qo92WDWxozZUbl5nzucQDAi5vC5RBVnuubomNGqGd6W4yHIvczWA0l++DYqkjiaklDiyUvnieZ/ZExBsOc/KI65Glm03xKW30a9Cf6561kBhgPTLei0gAO3eUzHern+RrqyRZEilsgzwDYKDrbwLPzUk7oaaJ1t7ijKpLeB4kZjEff8CVrbqLSfrBKVdN4Be+rOobmxCwJlOWTTvVkt6z2zSHi3rcCBGsbt3Q1O2eI5e+nuDXbR7y5RwH1xErBGSRwqdlC4x768bfhtCEayo6HG02ktnhhH+5yZZ1lPXsyyq8Ihn9mIMCu9KCBdd2VhJkZRi/F1Q5/K7R7X0zfWr+L+FXuGXzxbrBiXG1W0zwIyo7HajLkBZ3UrO7wuksJV+6ylaWHv9JSXb5NLuijMkI7EFdb3QCU/WvYSDHBGJgK4CK7P/PV0F3p9cq9+uT+6TkZT8IkFGyrfuCwJKueVXjvhQE9EwSNlevaRZJUI6tVhyaQ5PrlHUSrsVPGIBNeImjNMVGK5c9iDnAypiJSY//l3UriKUvZwGl/GzCUV+Pl0+B1/5m9k5JlhClKbkYFtwyYyW0ie6U+ElzTtCe2A8dU58TSaSUR6mk4AI0gendPBDxH8P5Idk+RUDI0bw3sWPxU+iKGFxCWY/L6zJo1iwo4a71EtZWUwxbpPx3QEury2EMFPzmJJ82KK7kRxZlmpprPyAzq06dMm1psjk/KujwBeC/wONJK0nGkWBHbpp+sWan7heLXDDzeJhBAFVVhMcoP0JItvFXqJf+KnpaPNnSDVY3kqQTULkCvBNcX32nOSvJ26DJHpOn9YSw53PgT3IznKZ2TyL8oHks74NHy/xV9CI7RSZ8zK+zKuUuFe819Q1M4fOVkQ4e4Xw9mADasen0fkpGzpBQ0xBq9OeD9m8ewigEPssTtQ07zB0XMKJxvVEjUDv85zM6WNLIkOhnDPX80gYtLwJhVLeTFc24EKmnFPIpWQbalh+XMZkh/gzuLLOoxXr5WYxw76F+jyc7StNS6WgHtoQqFnm3HVDxqPT44EuqeF4Lx5MtxUe99M7MBrn0R4GFq/6HwkNIO3EyJhsinIyS22qI1uQbh8XoMZFxAGnA83kE5eSY7+Pl69sPW3STqDl0CxTmvYGHZQBRJ6b5l9k0oST5r6nU2z5c0GcbWhjJCM8XUA67AXCScjZplmy4qiZ2hxYN1/ENjo7AAVN+89QMNMNYs/pOnkBzKkg3Au7+BiVWFZKOrDKDgKvbl1YeHK9+gXKqvXFx1gpGyWNdP5nGew3GY8MhXbPGH3ZHxx50tAVGQ/aQSxJ57FwwWD3AT7T43AFDeXaJGMADaA13zEDZm1d0yFbeTs9yHuApj/jeH38g/3aa0R+P00WtZpvAlgF46vHRmqjY/3OIKNzMtyQrXXBFuhdgB/FcWZFsN/tivORDYTW2v5hNwgPMvc4JT5MWI7XkAfoFcGzQlhrA0yvjaJ9yLPwNl9tStIFDlrvT15F3t62hbv9/72D9s3td5GJ6w/lZNEhG2b0wQ81p8AyY7XHmpyx2VAM9oE3UbcokE8UHUxv9wypao4S65eK+S+cRqhDRdHWiJxhnSanMbweTTFEDGzZYW7T6vTI9dyYsripZ5G6hVqde3CVxQxIU8NEAYUWoaGDbyRlXINsb/yLWVkLo+slXKXEEfxEwvVOEWBCVLGsuKGMCWE08BzYaGrFHElhWDAWhicmMYiBfvosTikVeHXwu8NXk+Vp7jlQfwOHbWi1vfbBjBsqmPSzYO3PVaH1O0s0kptmHuT0p6tyEHotnG4ZUjTggZuBP9p+AZZ3c56qhlj9jEYPCyznFPF776qpwR1HqFGz3U6W4kB3I7sEj/B7il9Fo5jQ394NnCOu2EzMHeH0wG3dRtrB5vzZTONjy9qBU8nLe7wPFGDA/Iguq930CBlri2dUyVGWgy4uyiQgx8LdEW6XNdeSTDY7+kak6YXaSwDEhm7eIydMvC3ehXrSykcUAOmkFXrqdZCnkZqQHJI+Ud3q3+lzX20th4JTRYgC+ZYriKHP7dIAx//lfbNexJ8SItK4SLemquVQp8zvG7MpQiryE0at8Er/Zv/lAWn3hGfusSP9v+fgHFgLWp+9BqGZWXqNgMghLbutCg40/X2TvVDeXhh8bJc2VWcdUia21YtmUl47LjZVcepuw5alMstQNCTXYjvVI8Rl6/gtYW8WK2TglicTB2BlljauRJI1ElsUf9pUUp2NfB/kjl8VcUexJ2bBB4JK7RG2YsDjHI2uniFiXZR/nbhrDUcS1CA/GE6JvNrGedWbd1MfofWpAYHPEqKb87svJMKNCKxT3nR+AkPiLkEUY42IFjN5lSzSdfFN+UU04VEWhFi7Ui2ur/8GpEbaJd6hZRvoA8Mv/C4l7bHamzPFPhC/aD7GpAcCEY8HkWb4JvtohOcJ5rxmpZkcMjPXwD+YGW2GeMCYb7RSOvPeAU9SpkCQLEWafSxVwgM34PIantswQtdWEb6jbW0+yz0mjCRkz/t8551Ah+LJcKKvo310wvA901J/cwVODLhZCw42M3ualNfXJkfBCKRHEiMN0lsDVNYJNxR7YMLifeLT4j+oPxgSrYHBpi7HW/YCwFdUZTVHhrPpjEfhz1gRlIi+s2zfa1HyQVfK66knVKJdps4Lq0PGJL7jvGCeTRkCIzKhEh5xbAcxHnGAytcyzeZvCO6edo/VVwuh+rqGahIsAII1FueV4FzTFHaTbV5WSHUcDg7ceoXI7r/g9VCZQwgWWgnSYg3puvSAOfgV/HGaZYlcA2mz5Kgae5EkcOQkx8fF+qRJB2lpiLIHUzDGVA3ECbLeTAZJYuBzwDESogwLVgCMHyoREwW6sUkp9jytpffJZ35PNe2GGeY3tv3byuM+i3RW/zATmREaxUcoU+AtaxkY7gR0F28nmYuFlHzLGdFg8nVOkdhWcGLiGCtsjmnOvMsEFfwqyioCLOjzngE51iSVPSpIvZdeB0ZRrFPBI7YP1bMvb6veSJhiC3SkJEQ6qY6Q0wNWmDU1mq34stmuRkuEaR9albAnlJCPr3taKo5P+4j9xhSIobXZVp8u5rrgmk+0XdC6MVLGI6mWpganF0VY+tncgNEVnyZIkzdqHIUsj5hnIyPBI78VrWkm6aoAKKTXNuG98U+ea1SJjTKyMhW93jSUl+J+DuIUYtJd0h0qMCnFgvBvswTVp+xIKQ4B1TrbnN/bnagFDjW1R6G91MgV7fecpLWE5S8aKQExzMOPd3n2sydCZIA6GO+Jjlw+HbEYDDnUoQtYgeTVA5Ty7XTumxRe1Odf5tUNQKeSogEC3UFfoe6iN1dwX3LeCZzsrH8XZx28fYIb7tyFAHf1f+ogyahZFnb/eQDOn60ZJCIe5N5Mix4mh0M9NFnATM70b4zflH+7MR/HzQw5ExbzzCM9Yfr/HBJff5I5wwwATocFPGN7yt+/qqL7e0+xGeT8+/OQK1qQR+zC6P5D06hG8/3ov6JmkyOiJ2+1SiiCZPpNfFO24fp+W+dHJkPdzYg0D1V47U6fbquRvHwamYCofMaaoPVuMtyN7dzO4c/Scz6eUvcE4kDUpEOBXOgSkgqUVKnHMuTSvtZ/mXHibC/mAK/sY02qEeZYpI3XxBMKDiBj/2LLWkk7qZhuyU6XQPtDSL2SMfdkVveisVF/7OCveaO8wiJx5oHglCogfAyRybgOubo8G2pOTQ0vgBugN+r4UQnvJ1l2t918KQbfvINrWFdH7d8mQjqoed9+XU0D80PaC0yiLQSkOUMbGbyO4Th4kAv+porv2JAAqbT8zmgaBCtgIVTLocN0YNjfCAdbkmEPOJ6S/3ADxBDVz6dtYONCJYiQd5BI3TShpPDnqlfLtZaqfO6vf4w90s+7HxrTy1pRBIDxZAQWB4ERdY0c7pFIenyAWbzZ411sB+Wc/JwqXlIwNCbpTUyUOV8rgleU+3fiEnaxaU6bQJ+jH4lagzieG9LllqNgNNCadCQAKEuLL2FtFUyNHZ/hgEQU4Xtqf79HEzfqtB6BTvgXy7UcseOqNHDa99tMF84QVwAlEwKB+/A1LXLgGC0Op3N+HJHmpp5SSTzuQG2K4n2EwS6k5GAbfI/O9tQZYw/QpTWvM7cZDlWmViEUcFqYcXEFp5F5TMEKbRZ3KTHm7QX5cDHd4V7ICxP1Dqay9SGrWxGiE7HFFwEv+deBrHB+2xeyh6j9TBiv0K9UN1y2fONHiisUVPeB6Y+o2qM1VnwIceWu4IJna2t6FWFakE8SWD2P+pcK/lbQ3d3rk0cjPmxlBCiXNBtIATKyHiFMKJqJLC/Tnv3b0A/3nQnVYn7dXr1CUTHWyLGCA8hIYr3ov5H/ODZdCuDS465Al5O9Ap3nTOdmGtjx3CLY/0Ss3QBWAUNf43UBCta6MdF7j1nKNNdofe3nXG74LBHh7bLbvpgXrSW6N6YnOQ8felhn4PLtsvbYb/Lk2rG6BKBwFPFIPbmAhRZ+DPLl2KF43fgG7fixW5b8M3ZD0LDjUKaJrJxdfdwH4o0Lb039Pm2xfj5sO45QbgZqWlDxqcRyEqfnAAqxWBnp1QWSvsSzW4SJ5ZW1kpXjJkVa8J4t2hl43/4eHcs35VfMzHK1J3STz+dDRX2B1a7n3vSPG2IPe/jRzX4oQTgTi6NO7yRdMRzuRxoA9ODJesW+JELQVBKEwemEZIIbnX0fbZxFUp67ETvmegDmKyodyTQ4tBTtWKD7vuvt/D1G5L8k90Hm2wF5S5UFJ0taeLTJ/c/iUXrQJgbZbDpojlN5aiMfeTvh7GA3BY+zepFvocCQ/q+RbR+lz6Yez5OcagotjbjcPu82JkopFPcatrgv6y17/DpOw0IT6LayB7gmnAOJdUuXUcDiR2j2uTfG/hqMfDRRc5RR2cmAmAfquLAc2hZsKPbkHQDJ7CFxN4olVODxmCsn2+X3yBq56cP+JSLqMFYr3IdDZQUTi0AgUzV95yFjYs7nA9IuW2PVTR8kLBHE/oKwhsdQOmNKHOnhHGyGX+8c9ikkttsqPXMH7EQV4nDUBvKPJSeKqcKMVzk9+BqZsl/EVcN950xfoZQWiLDvDVHLi55VRaLEO7YvGqqkGBluFxb1l3PJkImBzg7RGtdZ/1WdSZnnZ1ZrG7LInsRhE8exronLZsTC8u93QES1EbhTpVlKKJ5TxpXdrGoD4z5YaO/GWm14Oe2cOeLMzsA9RLXrl9HJkcgCTLtrMPaRCbB75oMmVj9k0E0gJSZb+k8oM8+wgDLCVDWlGQINGcRFtwvjVAklLuX0qkHMb3W/MqFVBMZvs0WiaYITGHIrYgg3VZFRgZGBc957gVaZxhc/Dmf4tIbw2aM7x8i5vZWNTuaiAAYMmn9tWaPemhuzmfwxtUsB+i5Vxg/SMSWGmvdKYGaIe+gl7eSGXg+5tYL1uWBOG3/gHk+z6VaDnuNENorVfHCa5XYvA3TF3CjVxHpPA5IpOCVhXNU0XZSvoGRcA6tyP3AvWWTJsxit3SbALq/cw7GQEkHPlr2qFozdJgDLTxdZ9j7oz5gsgwWP8fzCbtqS0kvE2TBflo8+NJqLrq23jYSChkqCXAd5gUFLbqjvUWSvGDO8QOxYJKDY4cyFsChNNroRVVWl10Onj0J1fhc9xV4mIF2YQxak914Q+VUXXvUF+321u8YizI3yLjzORVcW3QA/uE7P4+akI7IiBELVYQO/o7+5KtKJ+2O/s7boQksooV3VheUwxu13NvBPX0ZhLi/mniYHs/gMxT5NSX0B82ezEVP23XlTwMluV31j5JRPprFCDZMlxk3QDB+mnpZIfv524nz9VYibm8QthhQL/VtDLD/DXI+8kizp10AQTmizTm/+vJNV5k9DLu/opkc+k8GKcSajGILKgIBldTw1UjP2wJ8Qkp6eHv6n2CnmT82w/9bXRi3A/Z0Ti7MuXCTuQvQLzJRgryLChERVgHE6i1qxGTSDPMlYeJlMJkbX/oTS27Z8LufAcjtR8gfd9hJ/5xlB9rWshso1cSUcJX0Ftwd/cPx8CXHr7HCvMkEHHkTod5vJ9CPcQ6J2x4VFu2pgmN/jJeKrg5RX/odHmaxCSm0IHJK0WBAIsHWscPCNxG0qD2NSYqPoTKJhPcfpixepHFM/KhEdFenaCZLeY6usX2a/A0tc3A75E5yKM3DXCc81/2QrkDQZKaq4/GCeKCZY3DZWKEwA972XAoAINsXR5imaN7Vged4krC7HxPypffd81JGd8Sm4imxgSUJhPhWUK74PihdD+PHqeyh4YYGEVYPtT3muU9ckTjT4hY8A+qwy980UQyYb0WbQAfMzFrrLHA7hmh9a28kZ097rm6Wh5Ewgoyi8rf0+50pYLFa6uV0drvbS4udAHudIrlecLyIfDXrqteC13/ranfSr9viLGCB0yN+1OrOkIqOufh64YcEFVVZxMu3lvsIqoHy7KtuDKMnbbqkAXLgNGUwBykXM7/PoaNmSLo4PuYqOgMXqQtuqM3HBX6vXnwJ+VaF0w67kR71k1ryrfg+ppVHgBGujZ/tdIKrrWYKMCnTzDZZz9wsg2xyY/8XneH8/C+ecbkrFVj8fq4JtJYjaIKnAoxd3PUNcESDoh4YVg2BuzB9JpNwQN1VAfv0Kwa46cyipHZscG8KSwPKnCLXpHZxv8iYJIZbJqrP5Y5vUAoyXFfo20AVgocnswy9taLo89FnJ2IWa7vJWMSXzAlva8wjXwYY8GrDYsohsZvK+3haYDtJRVw0xh4cT7zt2dVqH8Vz5ar2a8h+RRshZ27ZXCa8FKBAag11D91FgHnip7kkJIQA4P4e0GZUQd/fUk6qdHYXBzlxvK1Gl+knZWFMv9sB6SOFt35sTrEi2sN8hH+pjOro+FAONp+OoKQ6kgBUVoj2rz+OG7GqxbKsgFRB3kkCQx2u1c1Rs9s+9Lj2KFiPCVRJZJRYUxwbN94wMbCxZhO+u9VLRrqDKk3SrutwEwPw7bgHsvEPFI3tuck4Dbbm5O6TlblNLyDqsDR8r5pa43jiWIlfdt+KMy5PCFp9tzUan3p1Hm6lw1ltLalFiD83jw6yfrycgTklnrmgIx20fri06FsnyZZlPNJsgXkxIwg+eEaBfSXLn/d7rNCCfbTkblA1pNy3jhDvbv9YNQFe5QLdm8JOE7uQKiVYoJa4+F22N9pGkjkTP+4MvcTv74N0cxwgEpc2I5xoQppS3xkl2terJZrIiPAKlcEm/iOBPv1ZNWqmaTxtRFQGAROANefXiwTWr6fSWhDIx+95TU5jr0Tnvuydm10dHnhn54I8z/KQjCi4E9isCoB18IBcizsdrk7Nwg67+WFxqJ0KG3ZTglmy/cFY+J44Qwvq7/D6Er076HeQawp4zg3f+I0f9PGFr3/OiSQPs1cp2N37eipjwdZ2QvkWhx6WwbgpDUTsAKo0sJv4v91kuF5CKxwRAFBMwR16pUem3rpoboCAxqTj7rfbDPuKowa6bJKcmvqAGOZ0rXXnNLa4LUCi3rv0dHS/6obkc1tkYI0PZSYjEE2/yT4GJLqIonhBqYg61cv0SjotQlIF6ZMA15F30quzn3shwfQX1jSCM6LCjTcgeiA3MwUHD5thFFx8BC5Heb+iVPx3dlsnJ8CEfio4IiZOuirEkEDV48Nvr7L4QfkYfcgYoOyCiApFtelVhLbSsegXatnxCbB7UfnMKFOLNi0PgPwVBOe8k9SZjpTZKF3zIA4b3TbItqMdggwS5FnX+JIWcZzipihdlWk3qt52lpEoB4u/Ndv+2PS21Clv2Jct5jAun63+NUEtw4n9AYQx9SBaNrb76U5GUXtjBO9LdDxDfVv1/20vB4djs9C7pBwx1XSaQb0XpbjRcCBqH0w80r6Lf5+WOTX9QA1CZYQ7rD8KmoaD4rrlzb/DBKCEvTFt1sO70K4lU1W2e3LB2O9l42vIZ1PBk/y1prc3G3szHrqbDbERTbkxCRNUeTHOvJdfRzuSMOC1pTBgWZE0b0HhTtID2ca4lZ2h1SSaqF1wSMPFZ5Xe8rMWfpCaTeugejFkr99dsXJMV8Jzimr4XUyU7V2euoAxJCiPEeQ9zaTQT/mGBc37tWIlPRkW9oHMplhriOo9SPQVAFlV7MtjDBveVJuU7GKpzy1/SLghrRC33rObQSve4PNKgRF3Kvb39NX17cGVpMBN1slA1Qdkjy/GygDs21jCesCNsukaM8Wh/AHhGG+m5IBnnIdpIJmjjKhd2BLeW21+4RtOnL2cMTClHWyqPEhPDQ6+mkK3thvtP3Mm112qHeCkQrhSWb0iBPhBJklbco5MbX4HGMzQ/B5v5IYaTcdSqIQlii8cEyYhjiVYL/pMGkVmXZw9QY+hgmYmRe6GUxydlVUtLVbCIeVVmlUzNvQCuicou0DamD4zo600bNQucZqlxhfMLuo1cXyyQ2xRBHpJbn/eivMA7NqiMR0LgiMDhUO1AQXb36ElVU7VAavEK5PZcgfgm9vcgMfSrymUP6DlHcRE7gmGn8NfjckD733MK7B38iZndtPuKKW1l3cfGtEOgl/+vHRTcZjzODjCoih6kSbxzeQTU26DyqRWSPf1G6sAJK24Gf/E4BmxPlpWasb8ziyQUKKzVVboqBeg4V2BrdamDmMU1SyjuoCv80gMQSyEoflX4Lp/3rZ/r29yYJepmqHgPRb8glLZM9OEtp/CKhTuRzUKJpTjEGODSrunTPTLpw/yrsmDPI3L30bUT6EbjvlUHrQkBTWhOEozHNJkpiZELLsGHmnBwvkMopitQ4LlGJZu8+y9y3jyhi8XScZwUvpJlT1knxf1Wj/c7hhiW2dl8W5O/7a2Am7OoFN+eoN0qxP7IfebB5uxANZTnbPT5BxUi/1KT4JrLClzP3sEyWsJKICPQxisBDFCzhbvn5n562e8lXiCCGc2TsK2XMsmbkJJBDFNXYu74HoISlTszbCjOW9VucG+sG0ALoQysnqxKh9YLnE5+yKTT9fP5OaKAwBqffqYdeyvMz8f5hqTcGiCZgmcdhmj/k+09zAt+xiH0Lu81ussxP01mJUF5HpwkuWDU3iCpa2RsS5cnBPznmqrjj9EiXsvzojCK4d5bcN87mUgu6bAE0n9cqUO7hOZODvfR2wBLs0LKzf9UK3LQ07xU6pbAu/Ny3RED7uikaQtR+Uw1Bl2C0VRIZKW16jt6tYZyBOxa8G5mfSrpXNbfqoTn24U4E50PGVgwyXPgdwjYHbRuP4KC7gjrRx/WjLt7elsJmu+/S9biII1fK0HVo4g08rZCQ8OmoWCkADURIF5AMRw7rSmss4ENoOz9LGupqlI2j2VPnCC6jooz+nhbIlXQCKGlslbSXMycPevGr/vL79m6KN5SOIPdHUukmB8UX1DbvrlMHwf0OiSN8/QqE53OaVbrinjjoJU3pE9Yajo2CcHa+9vPqFB562LFkzZ0Mce1X0RQK3WvNcgW89og6OTEk/GB2EC0jTYvddeIMR4MNK6GQfCWPsQENa19vLshXAMxy1rwH7ZZH81Sx4Dshvkp/aT3S2YISadEsj5dACyay1Ad8+VNWEjEHQdH3VmyrYrgV8yYTw54hDrAdcsV3vdPVUn0TkOFHujZ+6qgpK1Xt7p/B1yms97gwoSsMOc0S8VCHOOya+BYOykIE2knMTB2Id86LVyod1JVye+IbW233a1c/QjUE/CYJj2s+l8u6vHHK4A7myiFj5JpRpQwz2+laeu4HcUWE12DJvK1YCikX3jOUeMeS8OG3pMYQ2tIkvt5M0BQv0tfzIC7ricoqNIFrFpldyK8uh7GzzntPJB6xSpEOqbw+gnsQEUtsknk2LVHA9MH0imo4gWWvaGICBVBg6lusWmcCUJHllZHGa6N1wYftmIQ9N5MGZUYFckYqYxayRKNrMwkXAqjBJgPnJm5d5buL59+PrvI19V26htuEek9Rkb0CZ3JIRelz0ZY/WmsXtp1jReQmL98DWrsiijxZ3yxqUYLV22SRVtD4Nr7V+ebqfTqC36SgoQRVr3OA6us3kLmL1u/Viq6a/kHD27TpgsIDNBHYC0TuZDGEh2Fcu4FptkbNr5c4Rt5Z6SHx5RuI37ODXb787qEx+L+u3oh6YKNZCA6eDTzqx7fjABxR4eaS6BsdAsJeSTNdPpnA8GWmFX1af3ASh8vVNCckVHpgqoOfpGkeYqdm94B3tFf+VX8jMUYmBfQooxLy2l9pvRj2av7chAiQ+UR23a1m50w77AxtmIinZp7B8AQn/AVuPTFKrJbkE3hdhsCvLy8p8cYbyAp0Jt0pFHQNS7/0dmuQHmjnNzDtV8tpAai8TF2L3+OxgE4U1brYI8d1N4yNHI5RDfOci5/Ie9Gttv8lYGZ5pfYHva6GK8K7jwKEubaW1dR5MjhIcySOQUSM7n+lyfkAV8RjoKwQkHwZoLkOHarGfs93X92G+SlI1AwExKYnGsJGBCpbdWLNW19W7+KGFj+D8rXSWth4Bo2kK1ShQ4V8OHDOpr84vBkPw8Ty2i6kGIsb5re6KTOrNZOUf2fXVeSRJduCOIsPUNtu14kOMPjH+LVzKSZViJNRizUgNaByKmeeaiIwIYjyxfAxFK4g5M2rY0c3uR5jtWM5UswWTEfHY99jSraJ2JGGwjGAD3l1HTFYJ450ShzjQbAWqpJc3bw84d1M7MXMUHQh+eEajelcznY1UEvss3JaymGMfxSIelvMKiRiV1d6532+vYdVgTV2zzEsAvsUwTUQGxQzt670lTtbsG0AvuDrWsjM7hcy9ZQz7mz8wBTa2lQN25QmzikBNg0tnjj/u1r32YnldtZ+lJwYbT691x9lgkVKK/AH6Vg+VLzzXEjq56JTDDXWRaI1zHSemx0T5/c2pev7O9VcMcP+9vCDJoGLokR4aCmJSZ49joFhlWAwKBP+fPqEB7917NM3ZNI4dWyYupcAULezzQyeThmlEzzhgUkfcOurlN5IaY1veyVV8Nh+hFz2Y82SBWeVHtpZqhTMUkjiT/tGpaeAAIQlxlib2dIVfsdKg0jEMfmI2kh/pQVLvHtYkgfuRsSydgPIfus44spFmIZnFeEmDP2Dr92tXApKyGFy22/gMdgq1URB/FYJSHoyCJKFYmkf13AlOjEWE9VM6U9esDyjxaPGMax7ut4A0OQVZl6KsmjiQFaA/eZ1NjlFZwy44jkR1lQKgGrgM0NxUzgaxO4uj95G3rBoGoFUdckfBeE5VOzN2NQfAdtAsamXqyExrhCNBFmOv8wG8hfcpfRhrdFUy26eVspEHkjQCv02alahSJVAzPf/Y1STSc5MwRHHMKQa+AWh6RVN6UF95R1IydtMyfXNlYVG1X1+fWXOOTo1NcQZCiCLFbwwPrZ2YonM56z87kfux5sMQ6h3RtPOxK71CKQ1UMlLGqhxnPXtpo5ADxqHxzr5mOYjDykLHTHf/gEHJy6SLgImAi1LAFM/ttv8bVBIkcrmwq3IKi6sd4r/3QWqHRM17IAKqzUBy68gs26w3fmQD0e/Md8fDsbGaytgU7FbGyp5RiYJ/CLDjjtLw632n+zvlZmv3FCe+V18e33FDmLV7HELKss6ORprWIUMHdgbkpLWkqYb1z6QvIND+7oOTL0CANmR3+QG3PZYmetyWbc17IZFOn8XBsAP4Gl2OBWWuY+q//9dBtQVNuLiWRzND/zHf4Ut7FyJ7mevNeiY+KXBo/nfQMA3fGD6xay0hkjTFOqlsLw/ykT9oqJq94WJ20bIANxyM/VFWX6s3+Gj9ygEcgcLbl9X8C6AbTtbgF0ldNVq5mVuafkkywwVwzx9Q8QrCj/bufvqk5ZMrt05IQFP5T6THDyDLQ5S85Rt/cm1go8iMXffGDo11XaSaCW+8k0J0vPRUJeNYMIOQjL+X+NCG3oZ3UFQ6VHNi2n/403lzumfukUSFajYAUXkMS9+qerKb/Yrh6x2Qq8aprUQ41yleIUW+0KcU37owNXmpNmSyT/aQD0iqAQpNPD6KqfU12LvFDC9pU8oy4YZguYX7qxOBdGsmgZtSSIlqLbf+TglpGlSQl4FFfd/bwM2CN2w4oBPPl7Kv6FJrckYoHrIsv17fUrQoflmyk36fgCKzPjTSm22p8i+Ayt+ysoVuesapLMnJPAMg+hU129Pxh9mQP3HvrWI6zFMYGnFzXOP1Stl+40FGwlS1lfB4qaxvkOXI5/JFxp7ssoYuw7Nc/3NS/MkW3zoQSPHVLoTQZwfYXELh9kJN7FMb/uJ0LOdjSNMXICJ6T76aEX18NOQuKiOAKRV9haXdnOeGfQ1M6A76SgpolIiZ6ExSZ6i4n4Do+mfY9STMcicoVibJgTKsIoK6SO+lX0/Tx1btfUvcHdMLJBUWbdpvqLiWdBfyCPaKSqA8+H/BkQljOJbld3pGNsM0PZIdxCUp4LBlUoIg5oLnJzT2kRRGGOcG+B4EamJ3ilGetS5vI4+eZDpOVgm6WEGccc+3SdogctQqAuwn8cdGlZWd48JrArp9t4s/1eqEj5Tb94FmWbAjTwtxEe99UFOQyzQZNZdrWcPHjE7MN6TWQVhakN78Zx80O26H7Yd64LizgfuLVCfBWgFdeFY5z1Bwge2lmDmIqv84TXa6m2ZYzjceoDlEKotnuXlod7upIvAT8bXWdzyrad7EslzMmb+RuNuHkRTEaoqMEwAUVX4kBocpUxPtLk+amzYD/mbSa9KUOJJJRrXejRlVZ3sHrZkUAhna38rsK6U3cqq8FOCjwHgL8oeVfsum3lmpjTTx1ssByWQKhDLaGt/4h+Vs2PjaVgcTCsl5iSTfwHPef6ZmcZ1t8r7J5dpjHJQRZNVVke/AieJLM2WYnpL5BY2wMoNZ9TylUUPcdF8xJd1Rv7XWaZS6VSB3FhJzpcQtBOIjcid17BmTqa+s3YheqKECCcmd0/Y4N/u3uoHaapwpfFCfmI/XIfb8vL4dZzD0VzGp63KPlOiOtBQdMDozCiKPVgDVO2fBgUTN83X5qJa8UZPjnGItZlJ1QdnYqulmGOyiRRmZRS2MAFH0xjRtJDs6Yp9ppcUJ4xZcO0zt3UOaW4diyNY2tUe3rHZX6zlKGQqtR+fe7agt63NpM4nZHILhqMTimeloZXiS1I4idLMAr7AlSYsb63f8JJhUlACqtRQR6JQUyqAPhW4wMgJ4ulKnR5m7Yq7lSuXm0QK/7CFtA7xN85mZXWZzWLbERfhGPcfj+eFbCgcSR2gDQwFiTSBB8DhH1xNFV6BZ2qczgol13C9WNMLCl301zF+Z59qC9AvGTEpphwlQf+Q+L70cTICSZg3QaX5bkNpD0Kxx3LCO4fe/QPSojn++I1sXtjeLrMclwwn87m6WEnjeiv24LF4DGe5WnyiR7mPfI9V4meTy7k9pxjbBR4yHTRUK4FBX3EGncPkA0NOb9CC4Y9LKjBEsiir7CV3xvi6uUnaMQg5lStK+k+QKGKSwIedbQJKG4hsnXOs7uJoYX/fx0jeVkAVt3DYvTEDxmylD+fcBhtIe7FDnLuGBe1BHVIzOjU1kaAT7e3t4930c835tFhsRucTPi3N81y8ya/04rguBJhPQBtkhuMz3wcKfYDbdmT3ZGGQDfaD/FecdLMJ6k2rr4tvYnJdU/r+b+yTuEGYvCNO41QpwIeZL9yxDZhnkwtwQ4FlWCsrAACx0vmt//IJu7zLy/45yHBoHbBzhmaruszmCrageeofg3hY8MyXAJlLXe4jnvdHg4QoBPfx8n3iBQff93+GhJPad4FMItYzVJdlHQBDXjCg3/U0dsdenaX/ihCvZd3eplzlH/rbavK30ALVFn8J0nXxg2pW5LnYT+Bd3djkpsAyR65vA+EkeKpD2JjICKslFeNF1XkXY5PY7cZUWc8AnD0lEcqcCh/AGKLpz0icbgZ2S/lqRVUGyADfuWBAQF7fQ5JUyZWZx+RiNwlrtdqVT/M7vZS9NuGInJQ9al0WoTYxWcPYvrAXdW+0yfqormPrw7tU5m6ZKV+nXqmEVsojDw914qAto4EwOe/A4yaccAV6sZFm8tetirexPpTvGY3iqfATqNCrunHqXceNiSHUcJQYSaacmInAAPYNhA6i0KsmLdVMxRMIZcq/ZGONXDf3df/RNfBlbwuXntHcqV9uOZsSjm1ylvwGVVOr9Y4TRzyb+gnnxACd4eeTmneJ16XTSDcxzWvyS88puNmyOlnHnkGWPdRMxgIpgozIewDe+cUFAcd2Y6tc6f7VZKadJmySpbdN4RbEHrH8ZoY2rczoXwf6Ymf9eOlJ73aLhgA/PX6zqrEswTMCzKDX8YK6MFBNVAT73seV1bYANzooMFwUhqiWi6F1MtsCJtYiVvW53eGUxBnNJPaYI1b59oUEbPD4aHMyV7KJrnp3w9W2VckMKXOvhAEjtMP2bYgyVdjkDUG5clBfw0OpoiEvsm2Dsorm0fLMY3aGzvHfHqHHEimX76R63/kRzSvjsDjbzqNx0ULvTVqU8pMOHzGQzjzcZhNZAb7RGvTMbZMPi0EYwXWxHlM4MZ/5SoXg4f6DwdUvVTehk9gMYbsykNbGM8NxnAxnJJaKMdh6+AaS7/nPZJnGMV0DD1xIEEVl0OWKX2cVpH2PonULwQ9TbrTatok3aMyyk2oDWbNgpI/GpA/vhl8ZZw2Jil79kHiJ+JwxrivnFf+i6NQ6e8opNmMKft55+3gLNofp58N9hi9FBrCqBr22Lx0ucBLP3flbHzArzKRCiHPB62J8alZHcyBSkmh97tizNMXpj1A+gcHtE6UJp/IQhwdgBb/C0lcLXJbigXuhBres0C0Do++e7xOLIameIfmksZ6ZAxrGNE1EunEjFLmLKcJwfsa2BAUAVMoDasj9LaM4UDMwtmi8ahLTdHMvGrKaDfWb5thUqkYssJnXWY8Y42uuQ4Ok1umgC5yYWTqEOwVQNxVyUx+uPI0fGN/Us4awJvs6tNsW9HQcN+B4boz5BAbs64sNP3YrGhdkDvHGAoHY1vbQZCoDRID1+y/yBTH16fvqUc/3KbyLStYRDuC2dhdLJLj2/OQrI8AsLIbsgn7oAtRjLh8B617TruqRpEcpasu2ZbFjfSd+8sImgInLG6WMM04MoRGXfurZdxRMHZR6BhoVvhcHqD+I58bBAlw2SgQxQirxAZQryca90pHEyaa+ajwEjSKmv72aSdWIm3+7bgtMyTQUP0ZouX4XhGSQ21XYVABCdSBiVCdO9urWVFjRJqQi8ClwRAmEmqMeo+kiWyU0IJaoKMc2+jgzJI7y3BeQhJTfT0KFcCwCEybuXDDww8Y81MuuUplXFtXFnpiKPY5JUwb4FozWo0KVaYaEC/f2lei5Omspkjtk1Gm8bdphNr28DYwaLE8MA84Pw/t6ts51pAHPIMHRdewwW0lFoh/rd0Fp3BH67xzv53B8Or0kihzNVlyFGYSDEnipx28yyyV80oWCs3PGoVl847nINQrOWAhUwDRSzZg44RjBleqddojLbD48cWXdwoN02T4U3yQkd6frOT/iQ46ArLGfGDMg4Hxm6fVdsQB+lqB3DpEBnFq2uQ8mp2ElOZ7YGU6bdBEfRAA2UZtKMy+NU0gdogcug7XfpDyTwNOD1Sg5vkF3eqWQFQIh/D215tkDvVybgewq+GrJoAqZEtvvwFk35kkrmEPlmFNrnAIPq194DqbjmMuzd7FylnFByRL3NFw2AeROQZ9YGWKX0Tqc9SsiFT0WL6PSh+TCsK4UYouJf1PQWFv9BzfVSjdDCyycVkBsd5hUyDnm8hMs2nvjWxQBBby51UU/yrHEBz+XvZ0MgRa6XwvIY4lrUOU1DpzRSjE92u7Yc8BfqtWdASTBCworu6qBlkLsqGzIaXA85/gqxyfxRU/HJy9jxEYoi4VDUqeW6Z4NyDglFRhFU3nrTpU9EHpqs/KJBsroKG0vZza/AReY6Hl/l5x0RJM1R073dCNjUzoAeOJ/Oxsqt8/cvzQfTa27RqT1BxfnQqkYqR8zkt4cHAjMT0AFcctnhweQAnqGe4TYZ7fAZfpw6sE2BaSm4KWyz9xlQrDFJJb1va1mS+zcg4dPmjyerz7KBFDpLL8KGUfcdfTud7iwX4vPspSeDYKMCH4i18pHrCHZpkfJqj80Y86RtXBOvhx3HoJ7D9L65S8ts6qInASKBz/ZG5R035fF4TN88Fk8EIPCcC5nRqHbX5IvSaHHm7wcrWodyJDBhLEgQqR7gVW+OtJEs2Xy1lrQZTbeoIfjZrDOg8Uc3O41ikgCX24cBJrThGzQ3DMjfG7/RjFBdWR+zMvPQITrav5Qgd/duvjZzTOUS0Gogxzds0XG+ne885k9osTRo7x+MmHw9L1xZ6CJQ8OTUTi6V8PhwNkudTe3t4jDvdiAPy+C2qw+ZWTmR4oiqCanSqF2qrrlvbmokehhZGBq8gTgPMkfrokeysPnlfU33Ir4nQriKhq1Idqyl6hvXXHJtLGBiWRvfK8BbNErspkn/7GFpjilgA1r1aNq/T85h71wmDbpiVPl01vZr1IdehETBMqEBkVxgCTAlHwWJtBHybTiM23GwtWcu++loOsRRpsr4ncQ0FqhlIDoRNxv34xxrdTk4/40AsY7NQmRfoF9oshPC5UEgw2NqiP3rdYdtX1ZP9OTRPXZsxmLs35DsRTgay9TFc6qfnSnzbYBd0WZctLRB2BSHIOvNHtgHDrKcArTmsStBamy2tWG38gS7xbNeWu1ts8FGEWqmDp24j4P3C6BM4/nP0AzId8bxl9t9sWc/2i2hV3HIhmd2s60CHmEqG5uTOc7TFJsrFNjVQvaMB4vC6fA+dh+vK3HFbVtlq0lsiWzRfj+Mh/WE0NZ5sUOmTt89EAfB79I0P1IEf5jk70BzJw2bl3Bm65V8G/EYL5g48rczdmU5NnnPKTfdAlc3kOdeqQT+y5IGM2sLH44J8IEu/5aVn00zJWVGIv5UPf1gWOszYhGbcYskzx2FmclerzRwBQpjegs2lv58hIhYS5FF54m6vNAaEqhfhUmOMUOLhIyuLIivXvEYW9K2LvdxQAVWROuNfuur74aZg9HTJDdnxEgCB+CHX8DIm+JvqWiejJCAzzK+/tHhncnOgoSwBiLqbnxgNrf+AICiDZ3P7rHLkAYquZfEg78MVu5/NBwqELDszFtSS9h7mXupQKKFfQVPAOkAHgLNctnVeO+Ba0ZbupvxEkg36Zo1ppxlyGHQKmWakMnsluEMjpGOf0n2/EZDRGBd687UJD8qVZiF5jrhW/K7I2fjLmrfTK429mj5/gaXro5anBJ9Wl6SJhXIU0pTjzjyFxqJsgrmg2C0RQTrGWbSQODFguR1uDonhs2oVwjfGrrT+Mkn2iAUMeSM8dab5Jrz5F5XPBNVKeVPCDuhs8vwSa4BLXUJPWihtKtw19BW+zj++jnkzzzuO1Bf60c7+mwm5DzVy2Yvb32mjPYtd252c73bsyaEwPS4+c29StmVF4hs4lihq/VHASamQ/9l+las1hmdQnE3OUi3uTR2G6UOakM048+aRUd7w6Pa2thNoAAPb+t60IqMBALeFnI4TBIh00sZ/+qvfEMXOEkrw4dHAR3vTKBYNVRuiEiyD+RS5iBmcQN6CORPinkb6CdGNDplyM56W8v0PusHZ4PPdau2YmqRS35ZCtlrlAI2+KrE+eiPDD2e96VZwYN2YBHsQp9nUIPkMDS/ZlKpjixwzvprVtSCF36FBKkK5UjQNn3nf/Rn9neDsA4nvbTxfh50efrvOrafH1EaUL1+X8TyWGAMLnsGaNla7qsN39EyI8tPfgC7wqhhKuHhaeiWPK05a2UbqJwFIi/PZFY4seKnHDZiBKJy6rHCyw5hkrls07cCE5F7jHMSNJ1b65cPsk/8Jjk7OHFVmOtF2j2HREJUqXDMBwroG2Zv6jfKnHKkKLmY1PhX+tIuuGkhk6lGMLwsBGtEVGhsSyIwgMZBfB0DGd/p1vFKLhmY7sL4sOiIFRJ2lbJw2GaZTNpzJ/LaF7/7rqtaItvrb8ZF/Rhqmck0Xkix92qNXXKuE9TkaEZseivWcbFruEG7Ym2por3Dzm5mhUIL8dOC4+AS68quCtn/+riAaPG2vGYwcU25Bp14jIjcJbjEjlKC4HdNeXyjUFwOzcPvYYcJDSVhzVK5UwtQD8BuRwoq6FX6iTQJ2tBZhP6C3stwewX6tA61+BLIU+3OtXdM4AIzXRrlbpJ6HDh/kp7trnsv2tqgjtdAs9h50pGZPc8hoKMiafid+OY2ET80wJszavtyp6Yux8UN2nuOwwJDOpW++ElGnKAAnq8NkHSd7Qk0cb3COreh6xiUh0j4rR4DQFm9XPDPLu9COQZwp5EHIEKB4VmAGDH4RgSfE02sb2ax4lil0yTkE8lbf934dPFX6rPhpuyJtIjkmBCJ7R/wM5HaKKz5NYX+WeUf6lvTNLZbE1zhvMQcON5Cvj7Qq44CtFqylKrbDnV70y/7niY0Jcut4WlCgE9pF8X33Ox4Fwq19AaWJl/niUxd6ly/4IhekFPMYb85jL+JnPVPFqoUbw1fcVhnr8sZGycGD6Gxw9GO1O/zgMEaAvLRe8VDS34ESN1URjSlA2JvxyzgdMMsPVr/+d+D0M0pAjNPlXA/2moMx63qNT/J8bYvbbJKQ5SL6iPiSqtgoN2Lgpw84hZMbjmG3VYLH4uCSTs3wZ0RGFwgBhIUdX/eXBSVr2TIpZu/Zsvu1F8mHdox9oj3O2GMlSMxlMYgaBKd+qBDN6CcPpYllBHe7LUd86TouWz4ksyktVCSVAvQXH9Fg7GT5ElUGtuUqJCSLgzRaPok0u9rvmo++nesHoKiJsOBnT5xAzqSlYVRDkFGXmCrMPRvwbsTALEzD4uVTBDFTdZoB7Htejwo32fiQH1sVIIIC+gObYmMpD+h8LHwWhD5DCw/phRl4vO1JVkta1T0WYmjimf4CwHMwXfe5tdyQH9eCZO1UkkE6KibPGpgUO08W1WmL1Yg8JUOt36l7/ygYsjOuKPN33F0vlvFBfKywWzorLQgX5FQyigiVO8CLwNjwhav8q1KaC5INvkgO/7O2+lXlA9BNm3poXltdPx5Ig1sQTHt3zx+DC2vNMDs2opcQe+kkcsmjBq4ksPYXk1eUvFIcwu6wh5RIJlJkQzeSR+bslwkunuAEfx2xUwwhI0wl6XSTjD4PTDVC0avlG4D1yTxPE0jyZXSovGVN3ceCKZtVv5iGWzo9Tnjs9wDcXTR49u8HrD0zpj9KgLG07lLEZVZjMBWTu/YQg1641Au1pwt26dIy+NDGUCDjV5427m939p07EN/FZN6MXENoVKjjbgtBZYgp4cer860ewxeNU6Ia6puSLPNQAiFZ30QvefW5raLWDRT7c7XBlVlhLj4Lb52C5VWfqQAUWT2a7ARr3gEQRLxzKGj9UCyurYooWkcPzGeRUl5pBxxY28wfta1kpgvdTYkDhSQzAKTr6IdlVXiltSb9GcHjZAhSXn9gCPhOJ3D6YD4XMCBan0g2rdI0VmPhRjmlFsuJbkPwNfnh79yJ0K/N6tCRSzLGvp9JnqWFmo22sFjLMmiGegqfsaI2EIa0SDpY41lfWpvY/Xs5+zDGv0UwbWmKnZl3IWEOTTFCo5tC68dhaU491jwi8ODTNfm6Qp8Q06LPXG3e792oxeYFNRQ890VNMO7FiDwQ5urGwTBoLfVcC5ocIjdlDu2whkGzBihZHGQXLHHNS/PGasmIPxpcyqE98N052qv1KJRHRXP+Bu4379lhNR9rdR8fQ21Fjuhnn9GqWLZ62kdpP2nG/P0WHmO3TJ84KbvMx2ARJTHS81rLmJE4Hdm3QUBJb29GwF5IOnR0owOot/+B3SpxDsu/aOntLhJgXuo4RXZ6qlI1ZAK4/N1FFlLfwNQ1WPt0VvhptMOSkKnrC97SAieZeqA1CcpmbURQoBibdC+Svuv2DiBgtXvpZvQQJOJxWJ5ha0q+IkSoJ+o9vMb9ANxXRwvU4UsS0lNU5hItl3CHOxJ+sBBlBAA82hv/XL9/CwHIMMQppLcn2xegl+QuY1U6wPzcVSIdS5aiosD90f/+UB73XZ0J+d8gFvot9yysxlWUtFrwgJnfO4YKjQ5nr89HKHhtDHsLuNMnxcykU9njA2ad54rh/g1+51SMNY+F14++o3mZ1G09k5fK2HVmwgT00LNr9ncTXk5InQgYYqLQzH9GwAqNqlB2ZZ8hhgIJNOfc9jikPD4/Udqlr3c5Vp3HYNCqMsSfo+iL8wuEZsD1T7BHbJYE7+MwIVvsnUVeYivG1ookHqZTKvla1zbcBnEADwDaBFGLIK40CrmnfmB/Vt/rHk9Ps5pJekGvAJoH3Lmhru+6huihPn5mb/yj1WO93zBBWX/nepGnRqiPDeQr/eIrONkSIa17S4paeCCIXeUlLbaNh9Nucku4ApDIA75GhksoX6J/5m+V9tVJ3hM8EnRum1Q8GBM/xwUWo+TlqLXjhOnmWWEQj873QH3HCsCgNIjVc55q/S0jZADEG1b78SA34GKLIf0/DWUT0K8uQxV5VvhImG5chjlsQuH9DJHEOzctCN2fzqnMdoIx/8+uSVnq8NnP/dguhN0dzQpmNyz1VrRQNndXrCrdWlgsI+Jn9bK7dQTohAP+zmIY1hwR/OtBrt090XJ5INdYjOLchkBObyoyFCH8sOFaVZYWLyclddhuEZVMWHqbwsaPZsSs0C57NXC1c4vvKEe+K6atTL/RNSXgMXAe47B1sef1neMokIXQktvs1bU7l0OYqnnGcB1aLyyK9srUOKYOX8X+gCr25bU3jc20zT29buaCtDQuAy2kFROB33w85n0JrAPafr3vWVbrfoh4vBdFTze+h1tZ18mW84p2acs7KdhGJLvW04uVBfJAohT8fM8Um9xkMdSF140qiVDdiT1Ti42g+QmaOyGAGFIS1Q5/ln9dT1D9X1j+F4GqWNHb1gY06Tzzcyi4ZTo2kJnxgGfA/DYmoRfEZrFW/467LTu4MHkpDjWe0OGS9egxvDmGv2VxCEZAnkaquf9Q3o8iuoHDhOHnlhSyPN/K86KgflWjjuoW9hO938wXmbGstWi7OgGQVLhkjigTzKL1NFvAMzKwP2s1cUiypwzEx/t1uNhyXvVFVNpXQSz9AdOobNRJV6FPliv0RcwI0M8G/9C7HzBecLER2w9qjAg6InlB8WRt+c1Twua6u10yJGGXtZIP8ykNY0eWR4+A1I4p9Rif8pSnD345zvCJQzuO2kpnVEpeCjYi23z3QoBo/SCEayMPAfW0p7Q20iPFZiRZjFTtBw00y56Sv9Bmi1cgStxMn79frgXcdHp+mw09e6gFYcaoA04mfZM8iWal1KL0NKj63ePPwA6ALFJ/YoLrN8UrmX3wlXapJgn8Cnw4ZyVb7sZ8UQ3UGZzbq3qzHA58Zh9fNAnQfrEfFt74OhopDXMQuZ85pRsBJiLl6VffBvPezgga1A9IICu5+GttEwdWP86ZzgCOHkaU07URVaTDEXS4CRQNJI5Ge4IO5kTsks2hVVkaP0dziNqLrF9tDKJRCSs/sjHIMkZTZGZLUHUv9xJTseMp0UYrhFoZOChCt3wOo5LkofpQuuS8zk1P9pR9RemzUpBL9/cMMBDdOelOuTwrfghRZYTsh8cfCe8NjRb6XJUmgegHYj6o8B1GCYHUAhtWcRpXmXlkZIzI6RUfgiKM4D/+pL3Q3Vo9y6udmgQVJV5qwnVR0UkR8F/J6rG3dQBi97z/J8tA/G2g0+VpvD4QxD0iHtu5SZG5+4RhPGTTX4B5uUMQaqc1cdsb2BrvFctqFtZq+z5PCdPZQufGMJF0n1GumW2MYACvTkHvYs9EsYNRATa0IRS1ZPciPNq0TzQHPpMxh/SNKBcD0ULBKDM6zNOaE1NyE8bzDmliPF+H5bvTH5Ml7f8TbxpO0JQ4chjvspt5knEBco+7YJcIvaubkxHrMAHuP4P0BpaibC6HoyT2WDqxLKfCXQlL3z/5WIcM36mGewGjtJENqfcr+ezV/egyIWIimpMQXcNzE6cqChyAkwXnKCIRKSThTtc/9PAhL4xU/sKE2dU+acmUoSSl2dFoeBP2Zg2s7RMU/CV56+K911Yq+5U7DSimCZmIIhrK9fAQzsHtt0bNYUdUapdjx3u/6TyUoDFnmUUDOPaR5qsDMYKc746eoXug5MZgwFzCZJvApuMTEWDqkoNkPEjhuz+YJn04zsDVbM0EhCRVeX+cISzxRspYCgZzdsHvHXeg+ycdSWkz60Iy+9n8A5DJFUu9GpZKPbO9ZNz78NpILmZWUSz+Sf0UAqsxkGVYh8jAPaUqBEMKtQPjK8rqlqSa6fvfnevkMsTTBPLCvrMckKwX1vDaXNgNUDhXE2O3wzikJeI8+aV34uxXXFWFxzdaqOKh9MQUEFZ++U01KV0zjlFVFQcCTZ8q/EdIdOsnfIg3TOdHLEiMGRaPYr6h4TzY190+G+nuTECMQJG7yqCH0QYXis/J2aLEzS4NIM/wwl6QZO5/EJ8krfZItDqAoQpuhTkbnHvi8TkBEYCIhAuiW4wTYyq/oXCrzOsRrgU89McfVJxR3D9mckDTRzTLX5cL6zq+9jcNTRkRJUFPq6saSAwP/lwPFraDYtUUs9eCLi205mfVR2KqmU+TxYvgpOmkb/5KJq0SQtuCfVNmn5f6vSZ0HIQ6yPPNlDZJvzD+kEpCU5tqEju8YgyPiz8z6RhbjBfP/ccnXKxTNAy+Ci/WWSBNYfdVyX66fUbzVf/vWbEVo4dc0g84sQhuT/+H0xVM8o1KCBjb9V1Wa/k4X65AnQYvRqOGTwd+h9rHGqQokQtIIOtlMa+BZaEW9dClD7KvHXT4/cKJKOsbXZr7Cye7zKjeoVxxe2UIZtZ1Tu+RjBredmN6CjDHhtY+kqJhweIJGA/Ud+t+86/+57p+WeEla1PZeocKYUeBOmvo70ruAGmD/0Fi+/bEkNS7Gy4QhVC5oy80Yn3BkA6+tMRABI/bymNhSR16dzPZKFcbDLmBYunQJ1fazBN+Eg9qEDgA9svmMWg6XSJM56mf9IFxx0isYhAPhRu/uTVngssDl+1cEOnJL1RxL5nLf2QHo180nQrLDYuu0A1GOqv5E0d9CEdM4wFjaxYQ8FjM03Y4ar+khHKSclNGfShqQCMq9KqwlPSqEey2tVY5W73vAomYeafI12msWKuLPH5y0aHM3DHyGZRFYlMB7kS8PL8olnevT2sFNvLc363rb2RFGzO5/Gp26EN+oiwHAVbhe06JOYls8n4spDHrGk3dNqJ7GbIHz++Pexp5kVE3+2RqGV5FEGbyUKxyLODqBkdNrzqcoxU8IDDr9+8OvI15DIlzP88guQoFIGfMot7NOjpgh+gBcJrkrrHtdS3Gc5JAXXJQz2OPOXfC3BlDQ6zdaboyaJHoufBb5+RztV4m/2hmrWICYcRfd7TooWGyzqbzISS3tRe82AQwC2CcybhKowLlDxF+EkGQVdzQTAHu0BULwaCrY0AHAmxiy6ohKpG0QXbU0b1H89k/zKsvaWr6h5KoSBtbCvSjEXqNHYeA+DQBkmvRbTYWXMjdVa1jYlCeH5cqQS7IyW1sY5glQKXMGP6bm6QDh8ha4HfmT93NPiuv3yRBSx9l0Jce7L8x0jIMkLBnj4pnAZ7Rn994ymFa5YKvb6kXkefOWDcsJQs8xRVDMNqKkBn49+at3+JruYudcfhIJDvBzBhPPnR0HBl86XMq9c0v12zu3icsS3nVPrSg2aB1PnjFAB+0wzWCSOX8p3bfrHGelhZq84nWhgo3BbgV0acb9Au7+XjH5KQlRCwMfzeL7Xh/lTTqhlt43xIFEplotllLcA1RqiLJ6B+ML/9k0M+5f/0+6Qr7PkykuietEWUO2uUhHE+rtCACwbZOeszETRjSWQes1vrZ74vUB/Iu5bkXAbR+KCQfA68hgFWIgFlWUs0wPz87+F0YzRPjJpkW3MZNQeToVQ96Wnofsl87No3EHRndcneMJm4yVLqsoVvy57XjKuROcIwc9KoocEBDjyW14IVK+QEg8o5X8ZXcSAMDVmoOINNcMCk6DQyvarvmYGMdsHnyQzM6b4rAEF65mMQSUzcHgrv1QEv1u2deKeF1SFr6b6z6mNdAw0j2ehnJfegSrjqQ4Uz13opfXPwZRbnFygGW0JXxPW2E4HZzaMY++HtGBLg2qfeWrfPI8h6cW9BGUIvkn1lzfNpxgkSwiDDAsvwcHGLC0s0prgoSEyaTz5JNPTu0p4WNhHu/iBM7T7SWIfg+LO9F0SombA0XuXzGky4K0pRjiAUayEUGA/rUWCqlhF4aUAwwm2OjA0owxTZ3LkVApLLGabOi5/9726dW4SnJn07SQUmORzw8jdaANcVpMeYuQ+5zxeMcJt2JCvH7Ftk0hj/2X8+0icjFDPdT7eewa7P+XuQoLz44+6zbnH2fKU//nEb4XqeDhgC3etTBfs/igu9yMMIbftCttJ1NZmdqFMhyxoBByJelt3bI7+9xxV1s0o2KwDPcfjsjJ+eC0WYCgI7503Y6LfdL22zPInIIy5K/yzepMYn8x5BTgGwjyKwuE0PpEiC6swBIT22chyHyv6ks+jqO6BC63ZU3lOHt0dZVgq4WxaSGvyy2CdJCnx5bOlCK84aN7/MjCly95GBvYaplRTjfocjFabHkljHvthiejqABIhSCWcmuPQqkUt6p1F+r68jCCJvThdBpu4s3jUciS4d/a6Mntgz7TOQ1i6FOtd7BPzVPEAd1rlfvmOwPcMAyrrL9uDP5wC2ZTN3/I5riXt982ujLDMnR/9sjR7cI/GYalfsB9nde9yvkVG2FUhMvlOPe1tTvyvDjOSZfsearJpq4yNwL16YcdiHvKlAtDf9yiJyN+sER/qLdgbNy+SwFDKNpIAySv77xQ+bLDod4BUoq+wJ6o5Qlwt84JlhgkrteOaP+9LnjvqfAYGv4ed83svNE5IKvuceji1oFWRRguR7Hm/1at3Mt8ETDp0/0psZQlJEGkmIbhtFr89hBOZs7DlOfqvBf3nXAOb0+Hv/ijSOUpDlAc3NF6uuglzhGkvqTUPm/ElO4mCLWUummswVQpk7IUVF5WKmotXs1RF7DckYiz0vMRAYpTmLydBEbfM6xYbdpFH0cWQXGy8xpTfrhjbjd0/EJ7usnvb66opgpLFmX2wen8VPdHOJVNs0smihuGA6uLRZqYMraFTtmG3RxQP5cuAy9ozQA12hgKkiOXHFVnIvMQTS9ybkwe5UjHnpp5pB7wxjvpJs1JXOuwbiSjYwhYO7ZBWOsEhPH134aPTDGmxPFNgdrUIMOZkMQjuHNRVgPIi7OkzyABiEgyZ39Ok2IIvZ/dT6p8IkgiIpS8ppvNlv44ys8PO4lXi8OD60UERf9B6vSCzdEU1Ds2MRFGtJDfAPqmu+ln7sRehRlgTb+UjHtWK8dJmZ0OKvuAoGmo0s3EGEp/pCovlhfWUkcSkAuEdDffkA+HTXrO1TDISfFKES1Jm4YoZfd3oTUGAkHKISABRxT55D5tdwRFHeO2Amix2hc7j3Jksk0+2bBM1lF8hRNioKzfKl7XIRYc+TLoOYhIKonbg4ehwYymBhTCFKop+XwB4xtbX1Fg+AcssYumMx7mRekvZWFU8aIFWNTHHpnRxlXwhQ81hDGSJ0ZI4l7a8sfjSkQa53L7MKQIj95xw+Q6NO4/5nAaX1K9c+OS1GXSY+qjqovI+ekvkSsqYkQLhLSU8Aul+TTPm2qTrVQRqS0/ux2TUiKPxr1LSbj+AeetYw92+5gKCO8jkya2Se8H3YWnExuekusPuqwgTLc+QLnvrk59bs57ke0c7yiTNi/rz4jgPF6FtaDV6v5vr9eYNEsTkTSin8I3uCgEvj0o8ZfGP4uG4SWG4GWpwyc0t8xP9PE+hCjTLCLkC+dHQDMTon08zVipgvi1xGHAaU2IWTHo/NQn5GgpR/nvtfROhoMuEulXc+3LMzPzRh4QxQEXZL5Lbqdl6Ksfg1nx5iFmS3lIzetT8U7Qx8QERAtnQ4Iwbd/zqm1AErVcyX3yQAhsEGbXwv7XubKiRKHP+xMp2EPZKlehWwECTTifw59W+sHkE6iZQBxgr/f3MrSor8Xa6VdpEbivFgHf1bsBZtIPWYqeUo+GuLiU7n+MW4xnScAsRgWSY6Q4EzrvtIGSUVxR9PQrGM5Aqt4MbZS1Po1d35ys0GXoKdhwAO+Y9a4/vn9GWBb88Ay8rR55eQqiRQlJ8gPcRIkBrGm4NCzINoracNI9jeHL7NrzELQZXmwu9mjy+LDB2V+GRZNOJ3LUCmjOowTZLv3logD8RwbsKEMxDaamcOYbp7Ol1ZQ4jwbe7D+6N5geHVmd8OXvQNxR00rrItxDxNwwxT5J9Kdb9M8WiTh33ZKQIcb5iUt91Yk1XgpNf1/RvCW1O3lonizSHgt/LtJ8mkMF/VFImu41JkM5DyJZ15c2vepV0ZdPKOUMinMHdbJbJdi9ebX3J4+vuMq6d+vY/s8mSwrySbbI/eVPzNSgQ+A2TrCzJ5dkOJihhtK9pPTwMcXW4Iv1bBIwkQNmgcAmDNz2dmRjP2bndXpNSMP5r43EJcLR/2PzvJS3astph/IrAttW1CKYRiCsFNi0gTC8/DrP5hnmXiwMVycq4nkHdAIInXYOZrdPolbcBWI9pKNv2SJdZ29rGk71QrBeGJXbRBgkzhJj5ZZCf54xhde8/JrLNv0Qwrli+4MuJMr8ewLWWxNGQDtf9yI/Yo0fye4T93bgUA6/z3I4Wwn/eP4+dFuRZzq/HCFqF5rOnqyVctpZRVEtWFeXk7xK1WOQT923GxN8s4mM0dV/A6cpvlyL6InMK0V4XHlsZs4KIvWAxHnZ2BnZCXaAidIkZeWaDFqb2kfCqcfClwiVOHKa+lx1BlD73nlJdQOT/NXbnm+M2Ei219Dksf8XJQEdCXZOvgJIi0KbPRM9GYn6rsvUTAIvKDikQ0z7kEakryto7ekYAN2j+luGHEgQGhNtZ7wjFJ2zk4uJFoHHHn2R3LtyBtLCwY65c0OlV7z0xCFF2uy6Nzw4CHXSnLc/OmT0Ip4N4axID4EXBPby5MfdruAS4nyz35TMsHuYnPMgM+c64D+dneIVDqkHzBlorf9B2dOMRD6wJ7HGI3kOaBHMBRKz/QYPh3CC2mtRIJr0Iuf1KVJCZofqBUFpIQal5L0ahdSjuFHCQKGSS9mDgmaBxXgHOnUAyiv/NmCc65befAA40MOGrhEwAxmnaxHwc1PFOHRj5KWr2cijYvbp+3k8UFPOaAfMmQ+viqy9C1XBJKJWGObhUTd3lUDmIttg5YbdNWmxFHwomN57Hb526i+3fHSXBP6SYR4BbedojPBqR7WkgFpVd8lPTE8o42P9BUd8n4mJgKCxFzmSgzn2uXOT7XVoqQj66CUsRmvlccan/a6iOL6yUPNMoZWmaQzWP7aO0tHryIEj3TeFLYPxmy8y1wnnFnvEDGk1FvS50alyxrNPykQal/6iRuzoQN898ocT7kP6wJDn+MXXjV5Xpb/PJHQiUpbb2aXAvQIG7ZwtcjFqVLBtBWXQKBoQhg8XmZEoZPJSp/9sHpHImTWbxYDyC4gXn3dgBSey98DCLx5xfzo/jXl56kbqComIzCYHlNm2YO8TCr2c5tTK6b5ljweVr8TyKSxIXevUwVa3337qXInyWyLdP10uQo6KZVJYQulCd8IxctZ3Z/0c69aZGuQyt7M7bQQG99AA40nHK7HueqwuGpn+gnp47I6RBa6VYm1LWz4xJXjJAi7cjv7eUzWqcJ6C8skpSp8lO/PHWiMsf1twBSWeSvTmT/XEdg8pgf9L9cn+XaU9ckU7rLX+2awDyt0Ccgu9/z2ojO9zSZYHXYx5KNzB/iTBiP2d4W6UoUhfBAoWOp7qJzEqmHM6XfgD6XKQDYSe8E87+OpUqydiiduf+kk3bWWqaULT68J2HudLNRTkwOPGLnZejxZDbemCntqzJtMf0CofC+jjzUqHG3Kw9NYtVmPGp9sa2uzgEKVv4MAOranpMKvQMNHYXmODMrTmvVv80euOyIfrWdtpbjL2kSB6Wc77rB3b11VTim/BVhe3VDVWa1W37tSrsWlryHHdpLKv09luoxKmFZ5xJ74pV9BsGreNvuBexGLwBYiFqyk0Wk7byeonGu/wqjc8OB85Qp17FhmrFm2W9zhF5svOK/C5f2KcNbRLifmo9kD8GUPkwqjDz/IZEDwtArZ8Lc/z1Z8pSS5FIMvQsaRfnn1Fvh5ouBIdyhPwutolQmy+zGifpJ1SZU804T+EN4cfAWZZKiKKSKoY8xS/BrbQ8JCI75HMy5oQkWeTdC7nZIC4m0JHFbGerVcZrj4DO8NHqSdIy3p4KHVVYjcWmFfCVbVy4ngo5FAk4E1AheZuyNZtZ0/qn4RvsKQwu5/2PIlF2xA95hzP1d7viCZsmpY0nTZtmo+QT6/zIRcMw4l9kHxbPCaPSQwfv28onrsuTU7WdBqPu21TdhXliqZXH3EA487xH4SZrV6uReP7EZtGxcEze1B85bpPVocKeB4KQ3A6wCnFLgdNpH6UGt4YGKS8TjavCegfiJOvryZ+TQibzMVlq29fSlOA/eruIThNmmlzoDGMMywYrwj1d0GGu49000KkLejUcDJ45IL1v7AIP9l4ZuHLHRuHkdy11EvnZN2KD6A/0jZkTnp8teGv06179GOibSJdLDDgPtNntAUy1s3exEP2qd/w8mzxOg6cz++m2nAlqtUl8O0eWHYAv5jp0ZVwoVQaRC8toT884XX6NnlOoVMyQrD4u/qEXnm/kNizZt/f73afo8IZjjMggGB1MHObUyTneKxK39vOoV79tNjgF0M56rjE0DNOYvJFjAuYvolUO07OsjcuVJBEzEXjK2zvsP6QnZfqk8yxOSLAhcFRWalHo7MJp5q12IV0JvrDNGsmBucL7PrSTV1gJ2Vhxuk1ZJBqP6u2kUm1LJAdKg7fv6NCBaCVi2zdqGoEdaNLeFfZBksPzClfwd6SermWPz3yATTWiW+Yh8d5jhfOv2lZKe/Ib5AwpSZ276XLc/WSJY99aTmpWDKeYUE0z51DIMSUoy6x0ecuFak30JReyFnPyF3mcngNJq/ha9TMSL89NzajsmEM4C47FjIPNDO4Ugy/NZJKLpW4SF68nbY+4IIFIlGfNO9sOGSI2mBPb5ABwVOK30rZWjxEWk+y6YP32+JJFcg7gJJUhkjrkOh9XyPooYpK6zwOsABAyPFVPrKmgLSxVsQkW46DfHEIzeG/+XsuecynUCc4g7DspY5B6dIb4yh8G9wkVtXv5GcwQLcYB0ZsYcTwzlDmQgxkSIappXpc0nTU7dZTm5JnP5z8+0BYcnCIu6X+cvg50BGoPAu+q3KGd7jYtfEAwzokHl7NlF9fqanQ/1oM0nZp3bclIDTz/0vZU6Pbn/azy3oCqCfz7S9RqIOAQXQj2I9G8/XXe5KwiNxsFvNOMCDoZiK/MOJ0m/8FQqt6jDG3E519c0qJKuzR1Lx+jgdPnYxotpd+6YTL4ueAu4vUOWD7iANgR8tU6v2uIa3DqUxJL4OAHdKM3T/q3It0ML01dB6IZp3rdvH5OtV+wSxHHb1eduTmN0HYurL1VkOodbF/GnPE44nzyi8LBSp8kKIvy8jjGWt9MJtyla824bAkw2/BRIiTXcRvbk5O1QIYM+DpQOBdfpQrZVOHOu4sh4gE8XZ51Jaq+a2rVYAWaZzFPxyDll6+lR5f/QGzDu95I+xo5wakAwCwYSaMEz9ZiJptzTQFdYIp86XlgWoSdOjPECEKcCmHburQ8Hp/2biUBCFSpfxXC4TzTpFX6VChr8Yj2UPOi5nFbskBS+U3em12h8KDs09bxdmZrmOWaXSQ3QdpSdL3hZz480NeJpfPMPYU5r8P0dFFLJCFTDWZh7239d7iNBgfauRQkiMoXCVRLQUa/iCdiI7fE/sO2qrTApMYh6bdPQwd/Hj6ws+hNo8QQGvkrqZNZdkUBk737ugGFf5dy5mN+QbbtKN1BZRvoSRE0c1HahI2UNb2uh9z81Z3WTeOLktr8X0GOOaD69OZGL73m5ORajuHH3pBTVokTkSnDTdi3vzyGpcBcEO8efPQu81xb3/eg/cNeoC+2ZYjCjZ7TMwNv0dncbnLFcF4MwHzVT5Zz1HcIvtdX9tGwpAis2nvQhJUCrwB8nfamM+yBU+01TJiraeXTv1TtKmRlFfCT6sVbj7k5KJv3Ty/mm2kD6Ebl2oNnb7i1Rfzd2fU5+8G2rWBnmG00omzld52YJQTmSKLmwfCZp1eMqr283O4wDUYnr+sLXEhIEpE6l6rUP5ewC+gkYWCNz5ETER7906nuX0Iiz24MlyjOBmjd5Y1ttSHAU5/9PcbEpXBKNFSfM9gd29J4nRU8+hMmDM51SLs/6aB0/BT7RRVlOpsVQVgd/aglfEXQu+KIbkETsf6DvpQn+hSD0fwQ6SL+atPLyHqdyweuHh/HyypHRm2BzJI0T0kbI8fvHLneZ6cDSHDsKwSpJSFqSmqe698uPSM9X8QUhCcmtrGfKWRVQG6v38sIsTv3HmquA8RUnLbZJcq/6SqHrcFsMrLKTPuHiv+txCa2xo+Q9li7bhng/rK5OItZH8Iy/umbNHbXC8wz3CFbpJIRd+MOwUi4Um6aIzoB5Ai+GC7XAe3kQlPTXp/O9UtyRgkqoE/8j2p4/e1GBwV//kKdJGLF46hkwT2WeKE6Z16x/GeGHyEtUxd/C8pXR82puxRIsn+9gQmkIx37fy9QXeyV4gbjP24Qpd3hRPqS31E1D8dkhzx7xjCPG6SLz5xdyKOeq6d0d6w4BB717zeB46mZ5EKwWt3DCAxMrXmZhSCmEFuOF3f0aXJGBJxRZYaD5s29hTDZB9xXq5CWWNg3ZdAf/l1453YG8U42/gKRlRW3JASR5L0bloK46pX1L3ob6ki5k+mJsVqkl/Bv7HYY/h0TJyZVVZRkgLvRhJuV3Ose0mHfDjWVjCXwGMXUtDywnyHzj452hSSgxZ7yxRJeQjjVGW/FyuKz8//AzSIVPIFGqpfkYWR48vIsKiRZV9pf405s0/bPO2G3gTlFvtB8xDLWHyoshA+N5RtduFI1mdUhk7jrCaOJXWapWdFX1+Wd+xnutzptBzut5F5whuPgGbu3Mf87NJweFYIYZy0xZD0eWJgqC9mM1rqcITSBox/ZkhaN7NokzoMHI/KvmTxhcKQRZ6V4BI71fBEbwzg3Jfpsu/S0sRjJIbP4+2Au5zfILYPOFUB2T4GbgQfFw7XQ2Dkx+23VpcjWDQHdgsTcoH9kF7SeEUUZ4gjo2/YWxbyjuMh9juo37Ymi/RNL6F5LnAADlGC3H542UvgMfclwyXId6Wj1X5G8OLiMg/nHrzm6mva7vju8Zjci2rmZYppmtRw7MXj4KDajAjiXA+UqOE5TSjipi/H5YK9NDQmFAbTqzsdNWSvXOV1yBGp1fiblZJJtWAo8eTiyGHTqXfUiBi5lfVV+8otq2HBFhcnZloliHP4JHFqXjV/fgjkK1r5yikZqvpGfbRl++Hugb7vAtOEilCDni71Zkdun9V5ZYL/8WTg2dzN1CwV/+DyoTIYy81308ZFj2itpphHqVWjvky+kmB7zYdsRMfCu9kghu5DQ2EuoZuqCvvVTtefu2faKGLO2Ayteb3QXHIquMQexWdgwsrS5RUsaNp3Nywst8B2zJ3RmqYK9cf7ITXUkU8YFLY0P2OkKmxEXdur/MtaXCIG7okw0MaYvWmTpUTwGTRKxLAT8ugyVxFaAekB1Y5QaEbbPdYP2KhQ/fmXAa394NtrIZOBaX41F1BfiiOJ+fNtt+AMjcjQHw/RdkbKYevUkmoeNo6L9YJmjuzVgOahbF+j4Xw7uay2FSw5BXEURf45i5skqdIbKaryIDw9XWO5LrV6EY7S6Cvt1MTa/9VIH316RBGnAgVH66GIPsnJYgECUi3NI97KZc+KGsswLxa7hK1pf6ewxDiPvKFbdvXHPIXRL6345hpHOTK8QaZCxhqDFACOYma1ObX9Tqz9UaySEkO+/eVYlFIKI+Wz5uQBP62Jq4IO7qBA2o5y3ClEBSgzC9suHXqQqsMOmtFvAQlLbHYdqxe42P/CrO7gF+605l/Pd8mCap6ia/HObOazFiWUIz5rQfSUurc5j+hMTSHEbTr5yK42oXm02cB231+OlgZfKsulhxE4EtNAxcNXiTrsTxXv5xm2LsznGFHdsOOKgSTDXGohHpZWJUFgzFdVnwSOUCSBU9mtdf3s2ZCZpmbod/lgYpLJFd6PiN4ySLDoWnbyl7ucCzbQzcDlr8CcycuDN62+SyCHcPGDcW/G/PMrVY3EVfWC27v10tZOEybKDT03uL+ka3h3QOrCPCXW0ejdWgcK8tygNVdnnx/rT+qbd2tM51gFWIQefiaErcqZPv369Q2v9SUvwccDxZ6VWY46AG+NUOiwb9KPfxSMhvCt0SgFmNmdb5DZ2tYYUWeJExy0qtH2GH9txns2lCHO/mnJp2Wg8E1buRow4APrKCLvYer8vHzR6lSKRyf2b3HuNogzYgKaS6qRaOc0GHrhrf0DjaYKkVe7zCSHZO59ZCpOjKARbSvzeN6hkZDV1fV+d4fMIgGBdT5cAWOutRew2BjuXvtUncSu2WCnLqGr0fbYQ/VMt5U3oRaBnbY9qbxwgJnEIvS8DpAPOgZaiiIh9VMJEYHbRco7jUFpyreSM1cO4++NxAeVBq0oXoHVcpseLve90BX31XeGIfpMBNJ166OpWjgH5g61n/4+z8jd0ayVvP1x4cs3nI8/SrZeLwLY5MaabUST0uJ/IENfI0C7RLjbeTQbUtVqVlknk+wg2sRCn6bfePI4S7UAhh8vyYVkhHwUzP1msLWRt33mipXLaskVIHj3apJrJvyk8YjHo+zOQ3BWmApIrPFqAjEuRkC/ULuKGQ7CXj8c/ru1dZHKsGfDNpuXtnKE2UfTCleYf9kXN6zLGR1GFD7QY0F73aFcDpEjkobYzrCM5lle7yWGddyVR5Ru9jp3q94WuattxGdfttHAdx4kyPYXfaWulWL/mS+C8+LLUtRHCNGF2rcTgMX1Tka29gV1Kgpd7vBWfdfEIFMOAlbG09AbWdq0/ikmqYeMdvHjR5PQGUvHzgnbadOzaMYBj4FDj+2krRvCm4Nqcrw1HMT0K7oSjuREueeA5h6VgjkkLPmgsspUnHP2yEk60dTTU87latONNPN5ykx05q2ieeFBIlywpnUCv8ies0feFh0WVP80yibi2QyUKMOwmRFs3nHsTio+gcW64k2sIKuwsG/E0uvJYZza63ek6lXSCejNMafbtzQZgzRBHB18ZMZsFWkpHoMkTQvCcAoc8gf/tElPTjRDRpA6eWd6dIXpL4u0ud8gG4qi3AtbUyDnyo33B1qCl76XzYORBqNEMN6EP+YKgpHDRTHcm0Kpo+ydP+Wr4P0SpXnSo5T7/W5XM+DUPxgs5bKWhhN9Y8A9Jo1ODYyMIeCYnCgdB9qd1ExmcErh6+UK4BzeS0Ww/w5wT6KDDtGVliJQhfXzrPQlzo94qIsctyJwz+3Byjig5u6761YwUH+LAh7/nvHp9eF9GDcnKqPRAyz7SFzER7DZR9biEb1WgJpY+RMxVvgUZZgo0fgz9kfHLFYFpjlMCBL2AWxMEpwEghk3ou0sfn/EqngTXmyp98xVzAoEl6UJSG8ZY4lFte3dJHZetmECHHd93maKKIWRnwoqmTbntTRGO3ZxjmeXYPuXAH1tf1tE295dJS+iN1HP4xoaOwLzGLzrUrpq9l+mzh3MD2lvErOG1KloropPvyeb3djQ9ygQW4LQl1FlMdBGW+guQvAObS20T8dkfb/0DBj9zcR+vELrFVeUZK+iFEsIaF+O5bCvqqir25P94B0l77MssYjZYZcCAEgClPIEYlLJMx8Mo/GihO1ImRQX+UYkbs078pRLPy9BCzrUQpNSKvZtkDWuzgncCOJKrK5jiAifW/o3nWQwZzxFVX0WYRYUudOGuNRglgU/MZdAB15NeuZzDt7WViezbkJnV04FiXlyFEosQi4J0reeVkSvkD2/raovyis1BcpE2t/ETvYsBenNvsOfVFTWDg5MjyguWLtgSbmctnQDg+SOozgEOHMf/HCjN7LfRipN0f/x+x32RVAkYww70r36qUy5M0o7wB1KSPuwI5vt+hmgrXT6IUZuehLsrNirMX3tFablq1QPFydy34OEbh3zwJrApBNkCwLtXIT38/BFcGrVulm1ZtnvArozXUGBPnEQHB+9Nd0CbC8vDrCCQ+PAl5gkDkL9YpBiLcn7DCI/se3NB9Huun32L+AxHxdCjRpIb7X1p3qrl6ySIzdhHjfL32n8eEUapAA6X60pfuJoRGp2oa1Z0sSWhrmx2F1nIa5d3SdrrDd9SUdkew90U+qyZld2TYxyx8+QQlEYLGOgVJNnLWuSAErkqCm1vHNdshCbOZ7L8NbzVnTiX+wftTDL0DFzlEDDXQGKi0yh6l1LbaF5DDWXKCXgzgG2VTTAb6oLq3P33txXqcea1y+7ad9/0qCOeFU587mhQYsWmCZSEAwJhFmJCbTuPEabuu4PuY87h7L1O2b3Vn4829sSTj9uequqOhCSslTwqvkSk1jBTsb86tDG8LZx1UQpB4my2yApsy7BqSq4xPlpj8Zfs+PPXu9OFJGTmaRF7RsPQkA1e2qX1XwFHHlpu1b1PX8+mVqjRZxRdW+ZJPdJWgxlPNldSAF3ppszJvkXCABYZhBRhAGtyxKwsPQ3KAErpQN1y2qOCmQcGsWsNCW0PIGM1Wf82wQsWZ9eyvrwUWeD1pFV+EwChC2/58GgZQe2WNJwQE8w0XkU+gBuFM3MqPl7avDNx0QzYxrcq3JMnvjwYxLkidJK3ZHSV/o2J8JS1r8fOPzvOQ8w9w0jOA2UjDECTXOMVpqDKYpUZGxGZSYJazwB3Hn4gxX+w5zlz4X9f0ah5r8jrYH2Ns9yfCArPcKqKZznMJlqbS9Gxy0U4RX5yDIhGRPbO6juq3CTlrSOgSMp0rdnShKRfe9wvfYx9wuKkafXyEtoJwTRZve9y+7C3EzytEKtAAGHNa0DKc8dbSdMSIPA3I6SFkZ2QYdWjSvN29IntCkYeyilghFNujfVkO0yuZfSW1h0P7TyjOhWFkQOyctfIXwf92hAt2L0QLxoUUf53cUAtqOUu5FgT+c+Mp3zfROg8oXF+AnnOLDLKXyoao/UyMW4cjGi7Lp972ptA5GoDbU41uaoMqSYapomydYeJFnMPTFtJT98X/XEh6WI1ahihTzZCisZQfgZh9LvH6HS58b4YQsDBA8q4LN3v/HpPoU7s5ZFya7MboUcykxhgGNhpgwLUI98VmnZ2oBpfx9F8td4GSQzgaUXH1wmvEZyTD3QLMsM5KE8unZDzGJOlI9MJVCv4Tdab4oR5jlmF3GCI1MqNsMo1p0PJTFXPJHnM1ftclgk1itDMij8QSZswa9+VgAU7iBay6ZMWHDM6WsLCZEp8iUGGBQvks9liejgNixd8n5nS/I3e9zpHcKGWhV1AA89fBKXCQ9bv2WmBF7WxYSXJOB1rcEKdnSTLO5CuYk3w7wGNNj+CzqEB8n6dY24ldMFRxsz0oFTodiYmKc4oFW1jI8/rbrGLgFIQMGYn/mPM5MyYi+GwYO9HfbHut7aXPbE6ydR37ByKxdXTUl4+n/AHVO5sP7I5WCOsLW8ubqFTZG/DDCqDs5FUazangOarDNyS87sD5IVtNI8kjt2sIjyKXC7vorz8x62hZ0W4KVhO+RHybvUpCckgA7XoOXt8ZJTskCi9PcHt6CPGqAK6bsLS3lcBwIDZV+fZmj9My+l3LBi+FLpBK73/bSP0QGyyHYa2r8znSDfFpf/kAXUVTc931SsYW2PVSoJ01hvBWO7fpFbEph0YIuIylDBlEFEckUSVFRQr8rl0oydc2903yn6tcZvFkt7NXt+D8+wULggFexl5cgbk+mCx+ZDjOa/GOax8KrlpOEUBqAoA8HYsckbexkocaLDUPs348cOmAMIZUSIWq+h1Rn7/v+33mzMUZHEiERU7Qs3nZEVuBwPklJr43tWv+8lUpxiKhVm57Zt6Rdh7JW9kUz6wNWupQnknw3flmeBT94f+m+prnKNR52dYfBxBJeIR6Tcnq7+g6QQhu1aGno3K/3pbPXfneFcmpVwQDbKWzkX7slm2/o6hE59eQOL9mbseq2A663wcomL7LZzR8ybsUt6yxYltgfotblwnaDH2MO/kzyrzqi9fp93CkOhvK1DgNOiueUQO/LFXlG18vlfwlBZwwi2cYykSTZeMBL3SV95c+BcBsYOz8HtmAYUBgI9IlCnKW2Zv8H21RYN0RBpCTCEZjgVHRtQ8y8bFQc9lJQmPwuyaxPqSn+/GlDPo8NpLSKCsiduLE4NGfOx2eRhH/u+4AtBcTJzPIYZSDtm9HtbvxDXk4X4dAUpox8zG7aUEEFEX1sWP1zq+3+JO4G2CdVNEbDH2fPbEnzBbRB9+7j5xaydPpMZQih008n4HMbqmGa3sXpv00o6dypa1wUeZJL9z2X1zZascbSD0aiFO+Y169QHQll5hqbwjvqBHI12iptf+WrDx9J9rlQKw9gMXhPpdWNl6nymDi7zKYHhUJR6/fEcK/teqbB0JMnZuTCbgNEdukznLK1v5wpPU0toKXsJ5V+BACvW3k6TF7f/1tywOok8UaF1FTnf9bCBODHns/373GkkAawRW7H/IYku7Sj5rbmDYgZznS8QwZBT1sJWNeMFFgijQOnUDzqcSlzqcZ6Mhf1W2YhjatV8qir/lf8kGh4bOWdZOM5k+IPLdz343vDAt2WiQHBkY8xJU59qdcfjcexgvRKumQFEKaxiF/G55KEohu+WKboNp946q27n6slLEEs8P0Kd8MINX/OL824wrmq54uVjktmf2GWEbst+viPhP/sFM65nhjhFq2KEx9I9VL4vwK83nUFvAqPPT3D1D99kiAI8ndRGHELUwjkK7geXkJM353G+v/P3JoGryQF89KZYqCBIYJu/duZMlHvo0zr7h4P5WU6ItDkv3TQyBk0WjI4EPRAo8AF9nM4LUkEK5m7h06B73axPrMxQuARA8IQxnjsVvPaqH+fyYx0x7pgss4tllqWOR5rIa4kWqJYszAH8hpqS5P99Dy7hI26W4OVPtfeicpMw8YRzBG1WnO2nEGm+Ny9Moo+tw8Czra+dNMtQyqZYIb7saVxLFpuAU6BGKQz4tAG3PW48L+r/9i2dGdmvspwStvyt+BMcQzDm3Wrf1HrcUoMTwHTZNiIjlwP7YdKe3bN9uMTbU9AGaQJ1FvVnu3Ku/GLbwdXv/Hy1g6gpXFHQt+Vn+4FLjqfXseLn+aEd2xbds1WiayfzesfTXbs8/1N9VUwL+eErl2mH6H4INBb+epf3O2in5mJ0Ej4Ox6u/bVnlZhDabyAnfod0BLNzmGJDhnitOmX1MFh89RqHw67Ku0nQUolVZlHxg1hpaqRJtI/zDOgqGU/qWq8FQ/Az5bKYfhc9adU/UUhrOvB2mOruJiqcqhfebGapKPJNny/0+/Koh5c5uMAH/APzRS2ZXMe16emvKkG/7UlbLlRA61LgCk9hXwKatRHY6oV/jMh734VY39jkSrKQtILEdpes6W2pVHMGzOGl88CexOBoGIpiuRLJ7NwrAbpgI5DGLYaW7a4Ngpcb8jDS4cpBAYhL8RW9F7+lm/QnPL+IT2rwWwEdEcU3gUrfKp79ch2spcLvbVSiKHRdgD+Qdi1ptBZ2phvH6gb7QBE3W+sFN2wZfAG3vrcwvZKmfGVHniAHWp0eQI8w2u8VURUoEo8jXCz0guGAOvxpNRXnMmrYE4jw6ns8mK1tihIq59/bBc8NvWzZxKqnkr1PntmXDg+IjDhSxfxZrvb4lysE2kF6LDDOOOn6hXSUkexSi06hsF8VonwDOCvTVni5nwlVtsHkC2bVnsvrwMTwR6MOW90edfSbBjZnUtV6f2y+vgBOMKhU+0WR6ammi+jYV5W96YrStBo8Lql5meO1tO8XQs64qQUY1dPvKv/2kiboJug1IEA9W6Ev0RI15lYNq1553aO7uTajIV8wwyfFgV6J6A2RBX7zqoAah5ZbofQlv1OVTow+GouclkxtmTuAmxuzIKnE3BvzFohIFt9kCcLYIiAXG8t55xv5BnFWW02lnWL8GCfO1j33ibCGHIBrBaret5Es2Zq80wKj57F9Ibz8EgdYMDcv4fzdA5JVGJXxkr464MmbE35SfQQ6uHKba3Idg9ieJRjnNBossx1IN+BrBB/QnpDsy1biks6a8H9uxL2jKWRzCi08SHwsbItvtyvLWQtfq0w4l+iiU9Xt2qQS56dANTIbZCpd4JeEiX3e+7aKDqRgbHOAcI79OhyQyttSLfxHWirmDrlw4FlRcClVxzEwFKhWH+LX1GFlq9LXine8u0VZCsoanFTe4bprO84NJF8DRQoDCYM3w+OC8HPcgpzJuOEBFEf99hI0Rny4/aRWFtxhV45I/yfK1FMMi/3HiKiFo0/Kpo/dgErR01GA45RAIZGi8YJ0xJhW7CjAQzhpzQ9FHkzroTYeVqhd0Wfp6vmsr8rIYgkJ+XpsM+WshFZ1RreZeI65e1DercknZCob7KH8rYMiTQss7yk0bGw/lIXEoARD9DnH2xEg8TF3jXRX+hbwNEnaQ/MV0+Hs4n70qnWhW+Xfe0NcLTjPMAZVTUzsuJJZ2YcoXntmdFsH89O9V9U5srqxGAC7m9YgaC6yT0KJN594TAziIDaLzRmdMwmZ57X23VPmV7H0OVQeabqL6bYcdV2JrIOQbGcwmpoQu1e3dBSQNEAWOXCvzSn55ptA2XVOS+k4Oqa+Q04OHgPxZPoIADTmbj8nAGJejAuS7AQyRyDPZq5E+ix00wFNSHK+H10llfl/BP/PTxWT8e3s8G3EOD39k9SUuFT10ArsJFFZrWYFZkjREOBZfXWybNM8DAqtDoojihrKS5eENnofsy/2hgoMyP7knGiG06d7JFychFM8oDVFIbJhEUyn4eyvmUNeZCRkIj+8ryVsx7F+FaLM06Zl4ywmgrob5ljNEvfgKDADdPmNqahCru4DDtjXeX8gus1SEVJrpw5kmlYWqTdB62g7SvlKgwBhF2EkcEvshoRpwl7ZE86bzbHmEdCGVnr1kOzoxsUBFuKicfyeSvptvYHnrqk5mLSUMjfqqBNOdUF7MwO1QB8jIvLK85ju56xqaCqGcTNwFLLd51NsrYur+8erBjIwrWpqihjn30Yi8OqOHlcg4bVwNwsmp8IMoVQfAn5iZsUH1GEpUsbqse+PZCaxfHZhA8igVg2zJ7e5bAcLl4yAoVUd+Hq6Pz2L35ALe/eoTZjWZn5WUJwjU8mS1nCf4WDDcHuPrgFpTtUXjegySwu5GD7lAyeg7YIBgisZJue5XSSbiMKAFr4f2KgEBZVrsYSQVEGx8cZ3CLfCt5TX9/oOGPXvynRHii9WBAAeZZHpFPpPzibxDmUgzwUISSHd9Ki7IJDbrYoNQgWwS1EtI7kkkzz4+VF62tZwSnVaIp0qFPSQ3uBxrZQvvKvK7firznpnHng7xdVGz4lkeBKlLaRyRUmbCAloNoFmhJMCVqfqArg60rKFvL8ntq043UvW8xiMwSdSUOOrj2gkFohm0nD64fBiB9HjSLBlfEun8nWlUCJodvVO/ySjyPuS7hKC5qbRwFlHJnyjVr4UEKk2B2PMR2cu9f7bdFiqUHdaahZWBy1l2yjLUndtB6CIXSWRnVVdD3TjDpfN+YvjzoP3UHipElIQ3NH9JtfKzx53kPnjxukppn76RXeU94CbU06vV77olwSM9f/nsm4rqpqf1KzUiFJZpWigJdzuTynyrGxjnx672O/HJoG1DIvyMfnd418jlbipd4ZURczDpiYYHZT2s3LFx3qdFsa355vhEyFV6g6UjwcPJjN/5AFbM7JX3Wn6+YD1EMATCHW6x0taf32jNiZ88ON9Aj+bTkvRYd8TsdnWizaqpTh1eQTp8cyYffv+7xnPAiumdqmUMA9EFnVxOVvQgr1IiddsBMwKLe38A/mAUgRoOovcQrr0vFuDIw8MeM7eluCZF+lwskh9Otou8WI+7B5Y03v86e1fRxKOEDyOJ/hIPDSffMnCWXxU8zHBzq6WMCmI8EWdUkdoY5O2E5fRvLkX63FL8dbceHcFGspMzk+ggZDq6szzJJpFUQe9b+PiP74hRL0CY0aDPZtEuFI10h9VBco0ldX8jI9WVYD6KJbPbi7lEvBE/AJVmj5E/CpuWDXjNJLfj+HDYwNAfcn6hVBOQ5S91zDVF/Ar5D2T7XOSoIC6L3CUlJe/6G42Kzm8PmXAR3KU3DfBml3TEf7ggKOxbGDCcgz1OTcoS0PqKEPsTdUiPEhhUtu1Ovm4pT5gGo98eiE5Gp/nG6q2/z+ddLrW56XhwTVOrdt8G6QmhTl41viIwIYzy+x6TH+6ZZfKbmiGXdihgdXnzfrqtScGcfLETn5sTYr7pYh1ZX2B0Hde+W/t5NZULGG6cUj5VCdqsQOr0f8tRZokhjqW9HjVj02ztBe5c5Kd5pyqnRECFCvntbgymfTOFwmyJPaIaz6BDMLqEnSj3nDfKCZfj0Vqn0flQRl6mQWaCQC4LkDvMMNYeg8oqnUq9h2++15KM11O8Zbury4k7RuUpsbBKWIEXL2xRq/zS62lixFLvVJ3aaOIFKnRpUjkrz1uJXrWM+fbPWzBd/Z2MoM4u1xtSQg14yqnUQwVxICnLORLiUqEvkcmt4JuKbJ9CIfin1xHeqWDqYFAJm2qu+hslliHRp/QWNxOpMufVUVOD+OBuoUffxhL7BLuDW+VZkm+ncdoSChdUjpe5tBzEDjq/nPqNbVS5Nl21BMWZ0bkXwK40ZzpaDtnkkZ7jbvJeMk5P2gSSn6uoOs+OG2IQAIcwIHWc1OM9rKr9oB1VXKr7g3GNA967JftFxgD3EAZPbS69CIEjljPFslKHUHi8EVIDtRGjhe4YJifvsRXTaCP7rOMfqS4fVjiGHiazWIu0C6gJJriZLmnEOocC+LwkvL7Rc3lMl5EQnO2eshwCFjipvoYaNAC2/eUg9urw+VdajHcSEkCI7XGrehBZ0tgy9iORq/gfeAcAbTVsj77waKbiRwa8tHq68AcnspPJlJUXMuyRsgqYRzM8OYsUgOc27f/4K0IXlGQwZzm0w7VFTxL44SC0ClfWCKKGL8/SaQoS0RxmTQ/qzTN0NX/Lg2zwBeDBW1ixI+44YIkd6BKxsn3DGo3lPnFuRgKzT6lh+7YNi3mCGyQAuwcwuGMa2P14svRCFftgf8+b0Z+eV4W/hb8WBKwSdNKOkqzgLa6eO0KAUXHANQHzlGR+iy2eDypIlM90UJe4fx5OKfdMLgm0JOqjfW2X+WjbUeqp0o70PwuNJ9G9Zo5LCR0AA6mfarBb/8QzaXu3v7Ak5Fe5I6Qcdkx9rqRF63++PrLkXwZAv/m/1zO/JzJvWKbKiHA8Ls1W0+un/YsrZDc8Txzkr5rC4xp6q+kWmTjpmaqYkN/qcFI3CX3hbQFg7LJPJil6Ssw7FhE3e6TQ+TnFflY9hhPmRpK7HONCjVa2QHwh7fHcRD0j4E/7wGOPmyM1+xK1ZWpO/qAFgfBVdIbrpsPrGYHhSL8EfVv2WoLOQMB+Fa3eWqzAeQoGzHhGJuGv8O/wdht6EY/0lXCnxiapDau8DvfGaMkpbu1jFxmEE16PecgVW+p9TQWILYnwggAoKv8voZuXdZ4QrzXJJx926TiZ6iUd/SjCrENP9i8NeEPZyGLCoOO2v++0zqig1f6WyxSx5/TE1p5fc8qlkZITumwIDW77Az57JLeoWpvyfelDU6Yeslu09AG/C5ciBk/+CavKYiamiT48HdolLToGRkXW9JsR19wZSx1tmFgY2s7rzxNZ6i3QEmcdcy4OLjUu9dGf0Rbr9dhKU+ZKptCSiuQgxZMqOzL1FSczdLo30OmgFSas4Yn4IEfaZtfkBU5d1iiTFNmY9ozxvLlR9DqcL2fPO4KEq/ZXPAosRFGsKd0zxiWfPmnRGIyhnwWhekWVMedG714nHeSBYGHCCWjqEA3atZ3Rpjo1jMKruEDxOLk45vXp+JWTiWRukSRNtmrl/jqsWL8vLvlxbvvwhJuf/MwuLykzSWSOkSgkvWPKZYEsCr1KdYVz58nxG8+g9Kcyy0YvZFRV8Cuz5IVmILhM32L1n0T8yc9zlU5DRaM+2DMeefw//ozJT9a7jMq/2BTYspYTe3TsKmBW6EEhaT+OFvoGyecuaEBlmaVXDaPjxySER/SiQHwQYKu+8KFTPXNHWaJOgUnoVzN6OFMVfQxRKA7tnqz242hqBIK1tmIQcAeRx0HXf83/Ba/ekAVXHWgC4PPF/1lc6jq8wZ0PysBknHpkZ1p1ZMDuoUUcwKRZCl8sT7S36q5HgWv/+il3m/EOQ3CyWOQdb+RTL1lSgh+9qsKONlqugjJ7qszHy3FrQ3pGoO0JjfsO43PMfCrJokvehHiIut5AThYsVH4OwaxqbYyGmq2cx3bEg5Nz5yjI1kmS1YMtMxSTFml75a1bb9hLh5nDPuO4kK6kqZTTbxizfLfuThOyW9IXwCT4C/wGEh/FIve2J8LeRcngvOJI0K+SrGuNlPKBtyeHfpmq4ieHt7PGKXVKec6Estt8WHc3axiACtzLeUQK+phvsSBZXHm8Jn166JfI+I2Sbm4xHP6qNR17KUnWM2b6kv8aAj4atta/qp0WrpyooD9diFIdmUudLq+W0a1o+ymDEAh3NcMEXnT4mDSm+OTnY4nGp+ZGe0g9c5eV2yVuUsxGojHB4dXm3i6g+T3kox+L9V8fQYGSmyMYyjReBxVz+kygFTvt+hK2TQ3Fj6Ler5/8NqxuubrvsKC794otVVo3cnsQzonVXWcYWEOdEF7nWsak1Zk5+1wps+vwFcT3wJUB5dzA7L+mylEYn0KMUQx8/d/5L0Co/MBYkXCGUt2FTdr9qUFBzEfHZqJxvUoRb3DQkfCPZX62A4DVCmOLzNQIrSE76Akwtf6FsqxEdm8ADd5cxbxdf/oQoUl5fJ6u9pNnl6xx9mCU0UgteRNA3baHL5krT0oxBLNI2zMwsC/mvh5xSX+dm+ELD15nitEuVVRK/1oBug10E4KAxI84OVGLGn62JMfBGN+ym86IGiXGOOuiNiSRbgGUBr/Y1mXf8hGCQkHmrePJ3Z6h+W8KONbUGDqO6O4iHdTwehwXt6JgUf0PlF84LytzZEIuo0GHoEgw8o0owFiYHMZLXnSyKMaP/QZxFmqwAXcXJChBf7CfIhtv3ALJtFAiDV095nrAJXl0JH09Ox87rZui7i9WRo4ZvUjgI8Mv2K+gs9pDNy4crNm5ByRLUrlgRNkHH7RAlFEIV0vZ5z5JIB06BOkEEzzexJGj+xueBp05RHma/MhpfZ4T0RE3yffnw7ZsBOqBxQEtEy37+F8lZcuQbyhQ6I0MZ1Dd6dwHnDvvNvvAndmRU/cflsU2oKJT1wySb2sLdlIpVXVGRKX6DqdEUgSN0IEdEWQFCKfw0vXaRYhqEXeGi5FFDOForiGpCIM3eN8vwcGAf1prVB8F/bPzGsx4/VhBCSMuhgr3FK4gDW+ndjgLWjXaY/uOt5X+E1kmKyTLCB8Y3CFIfG+JWX5FuVGggFCmuN5I3dnCZw1S1uz8UyWntI09LVAiTjT1Pk9/hYeR8fsxPXHXy0Zoo89HmRvAdKrK2zsHRTO1Ttq6wGd6kT4CZA38y7+rF+bprZsaC2tMexinGGnzZ9nHi9xQZ4z91MDJrcDMcf82mZAiXwgam/fo9wGuUt/kymNoZZCPhiIgTC4i7WII29MAGJNAzwKuHFqEB8pHQQdh7OeWMjtLD6t3BO3ghmeSfWBuhmiNM4go7ANrvouwXEo/bAYKiVjCHaz4y51+T1vgfQihZyknoXtrTt5H5rEGxgAriK334GoEdWREkHnufKc6/1/n0+jUULMrq0ggL5NxJlxjDjBOgl2+U8ZwrlGcY+Rs10yjJLOU2ITP4v16eYaO2IVbIZrAQlBz3J7KKqAnTGZZGKQXZC/LC57ClPKoEN5x47M865zo08RWJah0JVm7Ynrq1eC5gZQ/elaEX8A4j+RyYNqZBA21vYTOnuqKInxN+7ZWiEr2lrzQ02lGlbXP7YqsUxFiuzNtq7px1YWPDRhiJ2ra1RtT8wvSE52jAcbX4R585X74f2Hdz4zhf0R0JCwsV/c6eoEFeXdi811JxFUJMjqL+gGwdvf4BpxfDFcuIY6PD/0IGoHb1HXqLWdkHj1AA/IHs52P9vLYo40lu3q/pDStPC2SFMDY8arF9unFHlIBhj+yJrlju79IXDXIB8NTSooaLNX/sCQ8SG4Zko6EmPB6BWCssPDQf2AV8T9WVF9RYXO7QEm24FxXyo17DO9L+2BHqN3CROywlAQ15W9ypehDVZbijqVhdvYRvyHlLaFytmkPFb++lofabyOniOe477anYLhjjH1kFdPhcsh09Iv9hEZNe4bnl616K+ITa/j8HLsnPjuICWcLXmwIGIu2wS0l0eumjEIqMgjEbfGQDLr9kvAwXCW42L8JBc7hmh/2DaFEz82o2dwv4LGpPX7Fwc3y/Zx6lRDO+UUcnyiptmFFgH7a7aFI1FdL6t9rdb4i5mWa6klHigvLPTlv9T0Ygi/VfE4PyvDdJNqy1pYJZpJRwNZoDJorC/4vYIIDMb6mhMuvWA7svuOF7e1f923t/+uEXUTsFdjFECzHLiDW39JBF/TWvnkgJysdjSdepuzU3xh2O884WjDF9zPcvIVwKMREf7OWehusVRbADuLuCFYIrxI5ZVVY7mUrJVthjo1xuG/fT2cjtqpunzLmPLu6kaTDAD+GunK8wtmI3YQmFn72QsvQKB82dbs4go+kYNUrNoWS9/NYq02j5zmoHrd1pLpTiKpc5+DDJcpn/5MXI93O3mKl6rJfrscv9VRxIJKQ8QS3lBgDTiCm47EAwAcCw3SmLYlXYcDikBiALlEcsVp9vxMI8S/EZw7SAmM1hNmttyd9mUeY7/0WAzg0jz9oL0VzSCi3nsHZ0tQIwDLDXh0k9cU5pnXcRr5fG9k9raXms+ySO9/Wa/gyjE+mztjhOWMWrFmNgqwGR9+i1zE+EGYsGicUPniv1rnHYorDvaEiLmQtgeeU+U9zm0VYDeiVKMLlQFsvXxHY/lO8QtNkizWQCruXaODwdG+FPFAFDK3EnTOkVbNAIlo2KxRDLx3TRRi29bQwZMnl6taQpR8tVC37awUxvtxx4rzfGaEThAQvwa4mU/WTou4i4R8xpvQEoc9+KDcbv674M6v2cgFryz4jEmQh93d8+foHz2Af6AJkT1jv3GIlJFKNRcBa5CYiibb29skWxiev0SSgWaJiKGUROjgebwLiIAmK4qiMTOXoHrafo78cVtBth5fYHtByL/m5SYev8ioA6KyN/E6W62N8wGL/vlwstVghbrRGke5IE2NCRKj8vpsWEPV3r46QZSeMelnwuZyxWw164KBWG7cuZkKuRECQjg9hCLF30yjxBCglyehOvCr4lpMW8nDVlOYsRwfA5qWs1ZauFVvHGarx4bGa6Pxmnoj7ZwqgoZng6qM5Fx2kvLEPeiMUoq/qNgUVMAubH7d7TFDkeCVbDAp1Se0M2GCnSPDya1UkKmWR8bde4e+VhuhoarG1y0qwMl4UQO6sh8EUUgA64VB333uumhtnGF2+jIFXdb/7EDlC+BsbcDeSMMDxAhp5ipgPApQk4ceNiZf3ZwRmJv685Q1BL2YI5DwNlG70QfUWPJ1hQ7kzRtVpDU95/XOl8Nw0J7OjjhtcvhyuY1/DkW69sRjrxpOS6xq4nSCe0skzHkPrdlT5LjLkdozhOhAAPTBIrN/CDBc1M/aE09ufm2OFMyJ9eBksTidO8momN5w4t3/S5W0QyHaqpRTKIyC7f7jfea0fmgSuOL4M4MEsgrb/CAYJtrddSOtohdt5qGrYIo5QOxOv7L2nBaAPY8BIoewxGfDp71So8aOIJz2iq9Fnmrj6KSZ4KlIemq0nPjUf+Bzuejk1mw6ru2tO9MX2FqjMdTIhbgzDriDxTYViqvEYyjo1dm12dMoE/m9t3xWPCv2SlHu6HswEPvfUK3C+qs/+55FFyrZZtsNFx8CiI/Mtt8kjZ/29jWSBFJx8ihRQAzAZEDD7SL9S/6N1IZNWUFvEvCi1pGJkQn/M1F2ZyDgMO/eArM4yoi/f1ukWZLdvBEu7IrFkEF1w9SKswE9Ce2lvoG7Z7Yb/60j2Ay68DzwjVM6/eY6lHY0SyS2EgtjrPcFPO+XF8NAbhYEacNVWTrD2AJAaAFz9SVHuO+QuuKPoxW8WI177yh/3TPgOTj/UeCxqgwacoFygb9gyzWD7kiTJSkNMbfwDcnMn37UkB8G6MCcvv6XHM/ClVfdtevJuhocNuXIpKHEHiOROSaSCAg4zUVXIQLWIKwgizkTomT7dgingktumv1wogIo15HYxO/PApSiOMKSWors7Xjt0kxdysf7lFhtev2HUrjxFbkI9Tfc+nIyWuNITg0266xfkdRTjPlfJm9SSys9/ocOYUYawCBw0ThvLcFtZjziRkgJJ2C0CuWMC95vpJjmbwuh3pQnD+5IBCrSaND2zcOKdA981NquP/FsJDq2ejwd5AtZrB9e/+H/LVIurqO8J6xAWofiW+B8FTC/9r6Rne8bRYlPyk5fmOn+z6dmHiTU3rWKWvSxW3jPhDPUIWB/mmWgliZ996WA0fhKwULidboIWHGrBcNwGM1MdjRdWegiCvFtNjCKDpZtfPPPTGIv+fhUc/2jOk9p15KBhKmMyyNT1YJordZlClKX2UES5i+qtYiwHjm3xHeVpdNQvev8oSVMNI1Vbb7xEfKKpnXlT4ccy8zWtUbDq0wW7Ow1hjuyoXWbjRJ8qb8YIIyn/qVYBpYryzDyCOlLCzQhG7a9+/uK6Paf6H+YOfdxV6GgxipuUrZsrw2dJ3cfpplPvmboi5bRvotRRa+lkeFPLJaCczzQj/r28RreJbOb+CE50Ue71DfAmWF4jbc6uGCfeR1DESrhS6k5wfWNDqP/BpnCn7Jx3SBgg4quooQU2m/7KB1u8lA4G2vxQisNLdUncw7C9rtZS8vgiFiY1/rpVqVn09KczWn3DICUvdwSYysYQYw4K78yao/MXrrXOV4/bASHQdAEYupKZLJdOUSN9XZv77nx/TovxRy7BWVzKQKREt2CM2UWyO2xcTZjhBfi+OV/ReM1OgwUeVJ/Ky5OU/ToL2swCs4VFadd4lvJDxR3YMoPmhzXIVah4wbTDHYS3zNirOzJRs4Eq3wR+tdds22scjiJnr66pqB3cZdL9wYfqO2SbwUIJdGMqcGbarG9kVLoaVpqXLNyVoo9X459mrmplnagShgjP1cU9cU6tnXN23d0W5P/d31XDUDNegyMUUHebwgqj7zhjOwp6i6rHT303prcnKoxUWJwoQOVENf+HgpRXAVhgta0fWwyU44MPvDNaHegnEouZNQXV1G3Fm1D2EW/Aj5e9vnDkNMT4/LeJ+wz5Co/zby5S/7qZI6lXSX80LXkEDwyhGWwul+JJFPoW/toCwUk+2z4W83n2VDW0V26Z8AJ+Ygq9kmRrLEbV4Wk6EXKcMzOeHPgE+zcTz1D3hcjx60zScHTWvYlzRFTbiXXVb8wNt2YIn3U8pOCTXOzZmO/ERPbUqliArcQ4N1M1gOFYGTP+VHsL917qNbUUUPTURe3dIPQYATA4/E1k7Sl+oSvh+/xTX+T07PlEApz19B3/EH9cvdE1oRzw6xC7aQjIC/QicIHkx3xkIS3Xa6zG3k2Y818g6POrtPItLKSdeuDNul/bODkzqFjx2yK9bpOouEpr77Wnd4kyruuILy/h81JjPMQLzMQLZeIBZwHEx6ydOpt5VZ9uCEjnJV5YJJpQLxdcpGM+tYnvn3pxGUgOhub4Ra6o+4NZV++yyX/ih2B3x1P+7qWdAaU4n5vhdMGMaqT5ZsUGBqvly0ZvN6IFA2+X6pwnhyXx7FrRpITcXs0AD7ZW5TwE8c1IaUig7tT/IGVIYztHRJ9qLmbasLWmDsr4xOlo8QEQkWPxdYS+CD179B/98O3+N5wYBbKqCxoK1qF40KGqC9jcHHaYLyKPjdQ7YNLo3QWH3ILB1gswFmibklGyy1hV4xDsJItkSZBR+IjyE7Xt2Elg/DG2Ec0/8HbJsoriBpd3BMaYMSYUAR6/85XvSLzKHFgEjn+cRPdFuGqEllgiTTcfOqnIh/xGQ4P9fzp+lKkeGtw338IqG4VTB7O7TDopQnLI6Hg4QL+WuY13EKZKbh0IT0+ntJqmGk6f0RlZKXg3OlEy2cgL6XhbUlikrZy+L12Ojt2Zmuz3BBlX08++9oBOCctKv875ah9QOdEnHgaRju5tFGmgk+4pzqv5wEIpy5vNlk7Hs30rCEI2x9C+7BepbQ/sALa8NpS6GzIl/pJbJJR0CnS94/8FmGu1cpIu8TJnYU2xLhkmHifUi8TcHvGThV70QBblvEIe6DcMdlYbXSwXezYM9re2i+JwIkDioX1SQhAy0Fl9vKLKNbyAp/Ho8rCdkhzPa3tN+XeEct29ne/N/Cjdzrk+d3vMBAs785xdFo/ZJjFNnc6K1V37EcNN9s3M4NyTCz7g3T1Ss03G1sUePkl7DnUERhP/YY6+Yq1Yrrp1hQ3SssOZkdPgivQvMcciynqNX7jdnl+pxZaeh2HWrEwbIfMQ0Mo+gLDwr6Z8H3KTl+LOlCjxBYFoFobnrA+AViKWw1h4BHx95nw4MWvoN9sNUGrLzLC8FsTRh1aLfIZ2pY/O2vBytytOPfesWeig0Z3DvvJx83PPKx/lSFNzGT4sa+/pFX6z5izgBEO/wXXTjZMet0wjLUvior3CmnxPtEzgnniuzLEGnDgENjbTmSd+4d6Q18eO1ikmHPMLX9o3W+6hbQf085cfeAhL9LAPBv4OXb32rQ1oIRrbxL3P4QhUWyR+Mf0J3W7AUcZqumGyCpHATCcJCgspWrWXyVmKmLwRcE2WITJrZaLlrvlcMumimS9FtDjf4n4oYuFkXNkfFzuPOGrUQ9YernlACMWxKwXxwNiJ38DX9XnC+R/ehO/Kbggmash01Bx4kxx6ym3ak5FoOH7c5aErXQ+TfwA52sWXVZDbQrqeRWK8SesNTDPoJZWn5juweB5c+KjqUEDcuD49zn9UsXqfkMCVx7iFFnWzmSeWnAjRCc+mrP+sxiaVAofv6zcJvaTCiSDxxEfxKwMdR4bobDlJGcya+TEkzU14TjWx0DFox8cxpQYDTHN1NwIP+6wwvpOJnxiCfQQGRdw7Cm7QEu4P9jmN4H+C25BSh0HciNjkNT3yRqWmZGnFUZHIxjJG+UfXZG807HGqGf7P2fSp9+Ja4C6bi8gPWHHR9oSZlQrjfn6ur5vPtxjDihPoJTbIedb/6WihuB2Atj/+Om/W04U9rMk1m5UQKPRXH701P6b11YB0oiDJJp93ycefjnLFUhzBkyWthTWG6q9YbICWB0rE0dRIxQA7MeLYYsV+epG+qwA6fyHc168aLf60CSZiCWzq6dZq7zlOz8KUenLhUzGq5D+BnKpcQZ/aCoxa3wf0/K+30hjcMPjn20Y1Pdosy7n9egH1u+yw9Z4U8C5MoQacj6G7l/jyjXSJHvvhzDF2NrZLRtGCcBHceXU/P06qwcIvRoNJSTESGDMmlV/gHsNa0hZSsH3ZKRw5jxG/xsOUg7+dnvfevCOpJF1ZIulslBH+iq4H+oPtj/+yERZsutj2tqjfGZ/e91rkUShB5fLoYYshYXaLZyXUEfStfhELFVIXSTmnV5N2vu7LBfR4DKjLRBliNkEJHy47i6ShKZDArJQCuOtJk20r+3BuGyls6TP7nzklKr1+b4XBpvwJxqUu+/CI/T3fVpMFtm7qwlHugtc96YIaH5PO6iPLAlINwn6wg9UBjn/DthoIh16CEN4F+taORStrtcIMHzsMZLkgWHvVuQhattWl1mtwPBMWrVzeXcHAuPX2MO8kE+qNI3ddo2HPh37MKv15oLU/aVC5cnd8B7tVkFNUzvwE5VwqmrUSV149+B6P9RTl45SLs7pT/8FgvYHJEHFuiqK7H88GLFS1lbSj7lTIZ6Juf4JU9qzvKbNiUOO239b9PV/ofxqQS7BuCHW42G1JXQ9EjG2qClzsxeNpUOx9VCN1vuPXUY17IDPgBWBQ9948Bqls1asFmpcyLBZJ5BpJUHoZoueuvG6WgJaG44HuoEQ61Sw87H9LXiykZ5wU0mJ8Ra3A19t/xMLKxgti2+2WdUZSxp8oMr86LdBCZvRopPZvnCrmOF5jpI13zoOU21kO99W/ww9eUEfjRo0lKjsaAavJ+dPg+MgbWE349zOReEgm8TEs5WEEH4uqyyOUKa72ogUAVIKhU6bvFr8v9YcKSmzsO6bvj03bT4O3trDzIZ8SOwrwgQmpcR7FBKMwq2gZ+IHFtv/gVT4d7qHKwmZOo4OOU5c8RR1KN4CJcHM/OWxd/I2nXhmsC5Tm8VrL/Mclbl/O/0a3XrXw0hUG7XZWJMJcma75CMhejwLRQAzRAZGLm7gOyhHLi3HMb8etTYaYVBSoD+dJ5j124AxvkEz4y4bEW6FCki9OK3XlVrQjGFnWfwf8u+rvpHcRvYt14rW4WGEBLXFuJkBXQ6rpajmhTlNbP2Jmmkx4do3jx7dlx82QNc2u07/aiiJU2SVE8/92f9AepPyFpyDMMaZEC+8hdqjtWJpnRktl8vCriC3pJrvr7szW+K/ettfMPQm+zYL0WwpcwVHMx2Kp1TJ+Zd5+85cHXc09bmM72mNpS6W7ILzcyLWMMtSWBfk6FFVk+NP2lUlGrT5ghaJpRclWgei2kX6mC9HW9bi4pxmCWNsJQs7V+9ZRoPamHIEyYaw26IxqPCRA65VS0LaEHw/3ybz/2DE+9eag8A+KbTa8mN3UKBFN5azU4TXmTNalEfXEpL5A7JWHgVep3fjBoZOUCn323lsShdgrzvAioHfGBW2WTdwprCnizl+jbXKiGNmiCPkpR1G0/lWL8cdK9FU0bfLEGHpR+9DMCb6OWEluNkdHshtIUDHMIURNoEYoqGwGmG0LAgVkVw5Y58FWUOSu6CfA5QG5egg/2/oYbeVTAGxbPy6vQroHKYgn4geNPf3r0lTTLo6ugkg5j18JVgU41W9/3QvHisLyIYfNHPFlpr8mmSfWE302lxH3Vwg1KV/Eue2j1vzd0Tmqfca8phPf94QHLmoh4mZ4P/h5fP6MjlnXAAt4fImO4EOMpeKrFGzDwAFjmtor4xDCGHqBjxB7z6xCCRDDMNwLvbl9NBih6i6VT/7GrbEQgvJ/Wd3jb+aFY7zXiyONHT1RhuO1xT8sCERthwJxSJb/0yMTkgg+TbYPFYDLAzO2bzakhv9/XvgpanhJQuNBybv+7Fe8CqhnFzp7VQKNylFBxhE6A74NrYI+ey1OodxhW5nbYwblF7dJNPhEym9naMeEjN0/C09rZ8lmX/ZugAcnPja15nh+4XJ38FK641dAvyuZTZsm+cko7ZAmTpCdw726V1+Q7ZovmP/VOt5g1+liEiHAmszNSNhrIt6cjC+UcQHrQ4CntABgS1d6RGoe4xFaAFbEzxI2k+B1lT4hKg1R9GJ/4ge67ti6sJlvtKZRppr/QhlxKvpqdNz8Mlmmfqf0YcozQic2m715Nv5sl3nTRIor8MpD9tPjZaPt3/DUm7eF1Bek6BWNO9BFSIIFKzxbPfGXFOZkUVuxJIPOYkFxNNCsjeYXWcZSGxCx2SMFNftMZmR9kJJRsy68OYPourc5dL/aZ0QvLDdTF1xsCrYmY3sZbonPus0OI/NVzFkXW4M9MettoDDD17yF3ZpOnBZtcLaZgMeILo6OhGcdBgZTz5ygH+SrNEkloobJKo6MiOfnAJT8tA5xGgHjSK2k14QSgsDBVukK26Xlc2V3gXLWXwVcTR4juGpHMD1TX8tYPTAjv8COe214bXPpA50FHe+FkCM6vcjYDEa4qYPcG7k6OkOwSo2H1pG5lIhZEXYrDX7ET7qB8o/LmSFZ06XR03UgQY42KWdnnc2wlMmPvwfEWZOTEZmc2QeCVmlZQ3t6MwK1grh1BqqborJIJGYUoly+QgDJxh4RAfW3G+/7xrggeM/2NwcbDP7BDhcyIAWkDkBRCo3twH6ct1OmP90Azfck52SGwx60v4xK7wq4/pRPK/N0AFUXi6D0vkSASJkNNLEQ0hRuRehByVofzH9TgA9AWfT1OF13TEQh+DEE6r9SAesYL5uvFazgFMoZ0VM8IBfDBR+ra+h3A5VPUwcbdw54NoUatDMaKYndnjwQDp3qlDX3HW+Z/D/44hu5qtxK3wSxSW4UfwDLXuFIzYrRW5Iq+pibnHX7PKoJojWQ9Ghtv5SgjXKVCoQ5t0ozIASCOiUxx0bxO5MtHsWCG5G/1DOcX2iQwT0sj86c70px52ZTLACZiCo2M9baosW2oRPYovlkmwGEs8/4d+usNTtE1b6OCakGT8hsfNoKt0cMqptatyzD6M5yTTRF4nA+epciCRbOKDOlya+TccMHM6MXrXKevStXt8TkTNp+uD+hLZlQAaizsGqIYYlOr6ZmuL4AIx6iv4C4e3TxmY6EHpEUTbfH8jo8IeFZQewUh/Jh8qGmi9ED+EeZgfjzxPVX1ywZWcxYi7UTdkA4wqgiSQgGg28lljetsGEm+N0SN57aSXYyMvO8dmw9M952lrvIZP5UkC8RkpOWLpwTSXvjy27w/gaQLTAMq7ZuAZFEklEo0sZNLhsBfimCbRt4esrGrCPPuFR4ovbqxJA+/YIsSvlf9yxoN7GDlSLMo2L5Gh8NcaichqwdUlh74dny2xqJiP0QPdngAHNmmvHtolwCqBLQ9ss5u4MVIxhUfW0CxSa3SxRMWQIi7jysA6aVIkVzMxzwMZ1gSWhNhiNrAtJa2vIZT+w6xy/t3RTtLrvPRmokJs7ty6OOrrX0WwFHUxNkA2ZN+rTuC+UBymFif9CZmLgopXptgkNnqq/Qa01v7ukRgKt30ysjc8JTQOOXTROF/6HEe0qMGyidIaz7EIhTAma+Jr/UglyvYylcirdRRsr30zh1jxMs3ve7W7MaLFM1D+jG6uV4n4/zp95L+0HI9yVFGq0/gCJs0MkzaPcdN7viBNtGcbk0LCBrgkme02Tqbym8l47nB0PkuA0xJ/lI9xFbgzBWn+AISJA2G3WcT9mjY4VtKbLMlu8il3V5KVK73leEqXK/yk+ynIW+zxSzHUzhtK0gIJfmyr17B9cMIqa4w1mW84lwzU5liEJqofwtFAGcW4MdnFn4ksCkl9cHkAn8FcuP6ZrZcrlUYQ/yfwE+vFFXYQjKoQ6BwXFYOuQ5DkUxtdv8vhkKXwmGCF3fMjfvb/dUKZGF2C3bDpJC4dqQoSUDYrtNgWXQmrAACTTWgSR9yghhCx/Qfx6P/SnouwNtYHBaTjwZfnUoK2htTGhos2TVrhuZxVCt/ZOIX8WiivhCRADgCddRjHvNns/t5az0W2TjW7z6zbS6Nvc9eUk+FqX0PrWeCJ8shEAQNu1Zc0ZROYgoYJax/QDopTRHrufbqhd5aeo/EJOGb5Gs0VdW7b1fpOhwua4a2Rf26riBX7xZBH6m2DqgOBd4aBYJdxYuSJ2b8/zSTPQw4jhQz6u3vJc5TKbqfjqDM/96suqS49Z2OTymgoQIRkaWb7ksnCVBwjBKQmmOUD1SSJ85LCv1KLLBamGCFfw197y20E8SnAMuT177rp0zw1Vts2poBIeTJ0tQor12hFlTU25VWoRRNzdCw8FHwStivozfaZMm/cI2CHAS0NlWnvrnHjFC6VUCL08FZLXZlvNu+2raV6Q+4AuhoK8agg76qcjmtEMHybun5z6fiFrqHOnhj/In1G5EpUO0mwDGdX5A68Jcd80i34hiHR0lIE6YpWeTdfei5EuFIFuUHm8RDYqvpRc+tIVDLbjInpFDrVCjyf+z/FGuBTaXRZPU5NFpWMsqwXV17YRJzHqS5K3A+xz+5J99xQfvzGxg5ZuHH8YQnzxSGZP4q8W1pRJnB7ZrN3i8pMdi8VGU9gyCu/XYxWsUwicCYlwggISkWTJlCBnMYi9o++uaSuXVw/g3NZtN96jWEiWf/VvKRsn79lnyLJ0QTYV85R7MEVOAdXh8Xpd4hIyvecM2ZmX12sqZ55Y+3o6rz+aHisAwO/Ncym7idYr5OyGoh7LX1gO3XzvjPuJ7BMOycig0OmncewIjVjk5dJyjrpt/xx5ExrEI6VI53G/AteItXucZSZnVh/RBmnHjQ7+2s7cVfAJnuapAYhdPmW5vAkRhkV/VOV8FKqOwqXcFLuSK2AXclLmOiFagDmEkzKUy2BaT1BhSrF+aEPle9NiK/XcpysRKN1EoUaEKcs40iFiPI5dtaCGF8KTyIp6UBSarPwRNsIQu9oe4XIEmCkHSnlwnoUe1Rejl0jZLzpTIDuFuJSTvXjXK8W8hdZ/1wNwvAHndpJ5vBSV7KxNCqh808q5N4u8wiafr7P0Fp6FGLasf7NwcXqZWwQCm/sY/Wx2cfHpC1rJ3f7N0OTPkquo55xKehtR59RhY8AeuGzPlsQ3RNuJyL/cOn5+chv5bIbZ7NTxFb/B8WjqATxjDfyMbk3lZmtGvcRJ93g5rMXNjkTZrf0Qsq4W/4sKnpi69RH5CJBfIe5PESEhsmI5lIMWRIj8M65281WG2yAXwuQwj5DVMshAyorwrVuKN+td+AaNQoETfrI15E1Ug6VGcec04FQX8lFCk69NgGXV1fQLnXsIc3ey1xnHZddSQQhRlRDjgcjwXmhJY56HBvzhjKiqDgxsmvzFR05yYkTn4NkxQCoZKuap8xy5Axdr1IvACOk+juEMndyFhz361iSbfMRlw/jLH1p5FCC9RmGKIsDaMWmhv+EjMByK6rlfYEQlf1+3r7VX4HTpJLzYoVo89Ngm8qiwc4VkGQNKGL9vPxsdV/sI0n5ZR68f5yF418yhTmIoO2PKnnFc+THZQJp5eed5gyczwaAkm9W3INaiRbSHyMpG0Dj3/bfASxWsnZLMIEoyO92GQQZU1+lhgXXZ5Uuk3ld5U2mxD/Ht/fSb5GySn9YyC9/DjeKkyGninJqTtVobiIKXHmFku2S58KGpUVhZ8ZbQCIwATW4JDdMnbY68F5yxmkpspbarIfIOlM+eBMVylyXuPcAJtcmrUvt/AOpnkQSpqaffx+mWny2y+MKOJ0c4Xp7CBvi+woScg6jniTucTHcIc4GYswzJvTm8ptfDgWce50bHEBBQ63O030UeunhR4u8eTOo+ltDA5XI+287s0CRK6tckw2uNwzY+olXg6MseYvPaKTk8CcrKhmj3Sx2fPdGhepZnpCnNKSrmYXhhUg03mhJ70HcuLlZM180XCaHRWgkSlmnSiRWwaB3un7Qx/8Gz1NtvfQup9j1iUk8N9vpes1HhLgzjbiPl84Rd0SYfi6Of93+YEMM/DM62nBS5NwagHDmZfIYzGGt5xcPBx7RT8JMwPtUjyPzLGERGzEkgrV5QzotMNl82VnZBXe46AvBECVs3RbSfuair/AYDelaLEseuFwV6R3rNfkVkrs2p/OOfcQcC0sO4SOWmmLp23hFn/hLVIOfLVfCNgKzKkDNkiCz/ZKlhWVuN9+HnqciJwJv6oK3R+jF1o+aR0/R6GnHMCxDRXinc/lSKJ/Cnb5F3NsIbFyBIG3Pt0BJXyZ+9ojhjSUvzMisUbFT/AMSz+fdBZpDh3q4StNiKSzLWo5wd1y3GjdoM6+DaxriBqZ6ZrODae+ccinmGakD/VHVQrnJRv3ZZAB//z3OUAE2+vghUXiDSdGyjGe/ESWHiJPKkr4xdGA9jEfnhsC4dmcZ/EI0/o/OLLsJtOBocjOAKYqXmqZvmPUReHqlJhh+WYbxoR16lFwSH3h8rGc7z11foE2dEedLLt7C9foED8+O0Zh8bZTUbq9n0+VQE9qFtE0cFfUrBCVkPJzDnn6RtncAg/qHn5QbTrNI7PE18yl8lFcPdjR+U5wD1al3OnC/j1fg5HT/b1acs82W3/eb0w0h1qvVmRZlR+CSH8Dk+oTDIh1SclU+GBZ/w8F6LR5WjLwh/vxs35E1FHutSsqVWF/GaIe2etZQ5GYugUO3M2IzZGYf5CMEuFmgVrD5uacuEfao0DHKMepFr4QA/JRaEvWmBLD/xetL4CqTyLVFiALoLqgtKwFXNotj1nfRwf8/HYvfOOxs6I5Ms8e4+GEBuPEdu/UFdSToZn8eDfQ8HbmLCljd4f4hENVeqLLsrgOIQQPN+YfDCpQxqiZc0OVwmbQ+Es/9oIr9kcpSTX+yUob+iurMZYLXzldBczSCeQN55EX3qttUCcF7ql+q7dTBTtw6aiSAmmvpd1IMVlnTkUOpdZWm5zneS5qIxsxmcDaI19f4kB3g+gK/w0t6GPrkmWxoKiaOJCsAoHikSL+iw8TICkBixNqUcmkp15kTuo8ioCDDbqSH7GmnHYmX4WKUqgxcANTnn2Z24Q1vuFHOpSBbyz/1x1G7e505RvYeHyQlW02dhOvLpEwpCmLV8jfZ8KeV9V2PE+fUSID90acmCo9SIc1dqfgw0nBqNNiI6oUIAmdfo1ikJ3hYgC32fkBEBxmDs67JFg30ML7N6pi0+mfd6EOlsxjsTKPtLiIT9H0cZNRGwb73AnHvJtnTD5aZpBK8Ygcz1NHjgO/1vNc/6MNsAWI9oAAl5/NsoJP90h01ASYLufy9DNyTbjoRfJypXFWwQXdjIXYKE9D+1evZ+fZRmItvqSIfBv3n/NeAw3gYC4UPVPrH5LUDvtYubrfrPLJCo3oOTysUk3oBN/tjZpMacFTyq7hC41O5edYycdLNKmvnOF0TSMTKGwRgIMxLNeT9J8VhDpgh00Y+KhYvI0yAPyt6oYSI6O5h+lkmHvt7WaWb2tIUT3jeaPYKCz88mUU0vXzJ5retUker82WEGpTiMhjQwVZ/bI3tDrIDajEiQN3b1o4B6aRYtDwAwwQIittPHWTwHwfLP9FqLsVUv9FK/Wr7p0nRVjq9oLpaKlEC79xkkttJ5OUWN/G0NhOdGJF5EsA3g5bOnoZdzczhxLjEFBv8i8NL5AgCA4E/lTzaOyLeiPa09Mp+jmhZnsy9ea+kQ2E9B8IiMgg/Kd45s5nwWaOPv2CLLwZ+0kwNzPeSXW5qYoqidnztg/3TPOLRVWFU2yc3cpS71S3dOiEkaPN16fZSt3SPhuZ6C43cb5TJ6dEfjeTds7Nrc4KgoYioJtPaDRZBDFVXXkyDS7/ZsvGDCCXIixOxMZ+1jh9HEy1Qfl66pRtqCpvz8+qGgk543YAXxkjzS79VEO1XBcOhR3713ifzhDFbH4qWNumrSfpPjfcxYlW1lQv7YlRvYBLF5i1dqszYAIrclxQj0Lqmpl0zDzoV2rfP9rPNQM5AW/ZL8F7Oy67NPwiDf4Y7EOPiVfRXxC+jTkgeKBj7QmiZXwgWi7UFGk8k6AYOqeqnjGWsC6O2fGn4GcJzX419l6NZSbLsFNyDgcJL3N1WIOYTf3jSc/x1YVdf4DHShAdB1/IHrj9St/Cio9U5JGLek5qnCIic2UjITSKIongHVHV3R0J7YjCfk6GlToiEwZ1In9wSmreN1MEpHzucN6CeiH5MkbovrIWzX7O0Zs+LOw2fdqXcHa2YlNOj63TgTmu8Ky5AyZ0Onoh2kP7YXHACgwj+qp0O1Ew7BZlHa+I23nM1G87MVJaYpE0dCxLbW1xhqpOU99L4jI/XwsJ4ZPL8EoSHNcgnDD8j6wxwobLvVsitFcYjNTXPr7KHIPBoC2pbw+QmGOzllYywNP2FYtoVHMXFkzOayFig5IRNjSlTWVDjLCph5n3cKY3PjWyJ1wAzjrpgNO6HXkYQkFpXRCrHr3JQAY40hf38ANHb97XC9XAS//GPdbJQbl6cwUcT4jeLZRcjc/v3W5NSsET1xl+eaA9BPYGpQFCzSHSzl3D4Imd1HOgJwOgoGqKVCJqYyXS5id4dV4XSfMWRLgraRQFMboB87VDiIlD3APYgEiWOyYeVRGa+FJJz2JJmQDiUNjwMJ6JV2tDGiUIUNg46a/SFyU/mr9NBrPJ0Lw9hpNk0d5tfQXLznVO/vgpEbbW1Msas/ZuuWYaQ4EnuvnJWNg2OQw6Vc+bzZp9yHgIDn+Tycxl6RA/J9fi824xhWfjFu/iXEtdOq6UqcUPFWm+7GVDVgrgLYtbrEYLrD7dKpbqlax7r0PRNJu4HWOrM1lR6O8J9/Ie51NsxXqLDCdV1jJVncYWWkfxOz+RnmXw0crROCFaXL9YIhy3zMu1C26jXXgamuj24T+wy54nIV5LadwprHAAcHX8tSL1YErX61pWrSWfBOVo8Ul4cP2aDdA8hckqueyydmgcQxD3/EYG3iEgq+PEVMCWtXBzsuopZLus9q93DQ89+dkgvcUtiQjsDn/0iCyF58WM9LJzCSAGX6OEuqAIPImmqAzsXaG61q37nGocEcbHUh3+7+XOpuT9P+583oFTVVhunXACb2tifvNzuL3DcDRhOPz3QDC7eIkjQXQ1oiHGpEt6PbnEv9cikpo97wxatvpFXXAP8FGEmzRXl/RPVjC/Vbq8wyI0hK+B1274DpyMi9xKPecu3OlOIdasCYmkjVUfCG1C6neCBX0pD+W29AINPUhw63BT7O4JSCm8z65pEZgDG4H3KAatD7PEJKfwJs/6sYHu4c77l4N0sFLoAvWmUrhXDSRDbB/6cLDs8avU+QEXQWLvbK+fW2kF+HqtYH3tkn+2XMK3oBbEnmeBBvkRsFNDJW5Xm03PMJVtTmu+iSg19oixB51WKAzWSHoAjkz0bNEtyDYMVirs1Dc7QVyHFa65V9LrVv7l1oj16GS/FHIhnrmB6xPb4Nl3mGE3ljOLVu/n7u39qDbNOWPtSj9MY+NiPsBI324gnfDffZZ0QZelAB6mPDk4yRavYZd+l/ohxpwYKcOacfSHEk8QeRdILCmAH0WUu0vBPpyWHf6XlWrDmOv/2TVpOucEq5TXBvDj99LhNXeGeen78K+HFZumBJ2t1DAXXhGbWr7kWfYV1s0Y9P++xpgkl1ulXzabht2VhDqHQ2nkUviy8i1IFfIY1qlqOBzMgEq0WKJIPH6fNy4ESVva/KAtN9kwDVdjS8TfLydORcAOpF43iLAOhQUZZH+2+eFOyhJfkTkZ/Hgz9gMy4UCtt/FmFznMWTUh1wJflPC4W8MxY1V/SxWyXBD6FEQX60sRpiWlanatfJzTLMKVuPhECagi3KxnL4FXrIwxJGQbNppwh87R6ZdcvUrpStvdLJVfCzAdb162qno0DGADh9mg1i0vSmYZizxtF1P8KoT/rBS8BFYpduNW2RVRZFzPsJvEFVrvWMoVHuwnUwdDIJkZvvKwp2oQ1hzOI8fCowENeCQyrfJsbPBx3eB7R5exZ92+W2ySyhwE/LwM1KaO8qMdpU0ISXVbiEhHsdHoGiEIG0bhHI7eb0/31jzyVIcPKPpkGVIxjMUXkcZwbo4VMPn7KFsFYYjDyOE8I8ItegdD7hFpnqEPe8q3k37w/GMa+mogupdvaSjJqh7iWVD8+p8QHCw+OBDNadXUWHo6AwvwtrJa85YsCoeASCD8mrpV5YWkHB90UuBe5xzXBBCMtTCW1ic3oMAhEfky5eKNTuNHHImINHxQLIv3+R702RussjskSqF8zyGqUj6Gffd5InwuZJk5Zx/wvaYlL3zpqwBZ+qwNhPSuOS8q8ggX+o/F23BiJp1+wuKhmd/PuWfcNk+5usxCm7oiWnmJwunzJB9mLuoZtKvS+pGYPD1afrW/UxtgBQIRweaxUr3s2kVP6X5sUWOm5deHKlrTw+BALxzbig9P+yyt+nAwfDIq8wYi+9xYunOxMRXiWrZXownOM5x7BNte3i4o7mkRajHOlWaj9HXwBtXQlyEB73Wan7JyX1cx4VuLFrtO0LUz5fVsJY9C3vl7jIPmJ9T1Q6uvSDmAY7Vxa/R0QfJa83C3x/+XWEo1mGGieVEGmEpILw3WKLC98Yq/YUaoduu+6VmkPDZ8N2xjajIazIlrHNon/v9Fhtm7++bHuCIklX+sOTPkfbjBe6asBx51qUSo60o3WlQ768RUSY2CRr8J+Wx26uvFOJlPFky+CjTV49ezrI6svVZ+kzILW97WllhJMeeLQQDxCJ1Psa8b6fBk1JtP/WsUQMKxtbBduqBVZnqO4f+q+6BdXOCMZ0TDM2hVskSVHff+Dx3RBImyAnNuNi8vZlEFJeuDaYv3RligKuZ8130lH/PtPDOXxWgaREzrQNAOfWPfaxww3z6o9f4sgXl3pra5Zxz7OYl1BSqFXHAhFdybuxChiuyApRCGvZmX0bnFnVBhWohZ2UtQ/qMNckG7r68UZDTBP2+ltf+d1tY+JsZUcpic8Jy0uBvP/bVHqvsT7HILxnJCidenDkSPdvqIuVMBU2/vU2eiyuVh2RzY+JWVIcNkQpWvydUOqWi6jVOadC2MgnyFZja4vB5z98VmgXkxREgd8mmzZ0kNifKIaG0V4SnWgTmrgd1cllVDqiG3M5AhQolHNhy2xej84hHwkBNrkE+lxnGY4ZY7D7Dfy06zoogXu6UVNWawf7TqA8Wozz/WCwi/fOJbA9SWHGyeIs5fT68lCTWttowpjGkCwslPW5+xDDrwwI7+O/7oVTf1seWC30lXqXeo4Am1uiGB/9Gwj7oOSas+Vj9OasjzkRqhNVSZ4Ia23uczganQyt2Q4mIbaPpJX8FhYHKGpQgT63PX55Kc935h7z3EY82kXXSP6cs8DE8n9UGHpuBmPLv3X4Dk9WHYHlqQWtfrJZPdgl5UANbHAK5F/ja09dVIJ1AKYDkGApwTvQb3WZ0xfIGw67QEkfBtfbP7kGKVEVqbCj4cu4M38k7Q9lIc4EgxTYz1vMMWY3NR+EdncDlxocIroReBSF1h9Lb9ruoTvWT5T0bHnJcVDvLuFwrKbLqLO1qudvEI4TbC6NilS9LeywGZu1BBc3yXsgeKWAyB0XlgVjnfNmQLrglu+xqfdxw40xyQu9Ys5iieX8RDXbIln0oMD94A/AXSyCCDHYGf0M8VVL3yLBtKbRwL3z1g1DXXAevhMgan20o6NupDCqpLRl7XFKmMEMIzpzEb5rFWweWa9cmsydXEeDSsh4BQGDzV1UQxRYvSWTmpKHWRf6uOM1dCUBw4kFWMuZjYDF/OT8QnrmGd2h3Ck53qx5hvTiTAwRDpg9ajTEKUpi9KrujtFwFIbXfzj/alP7sXnNR2GBOYdAMSNMH4qR9A8y8isgGoVvT4aRfFWnjtGCZwGAx7NegnroX/7k29/aSQFU271awEIGvdMeo80EYvdOdkYqLHNQHDJLVFJkNy+YadlrTB/23dW6GAP9eb44Hn7jk4MGAry/HTIgcZEpvGmQJeHsA9dkvsFyXGcE7I0joc8oc++yIMSL/wqGGS4K3mEPhTDxiO4jV9kWnown7rG0BWXy6W3CN3jw9nzIeV6wdBZ2SYddFRufeWOAgZnLMFpO1EtNVWN89nNTXPLK7gSK5wxObYJcpXGrhhJsAcUVdtWSIHThqtZR7EOmrwlxrpKkRnpaJ+0qa5R8keeaUekJRvE1dveAYD0WzcDdG+BMHIzlUiFntUtdPds3MqURWVacc2Joayuxxjji79ZBG23thLfW5c7pgP6jHwPtz+Gg2TFtj0eYcf66OtAcgm9M3FSYVex0s0BSdcG/wijVx6S9x44Y9snz+pEDaYVLsmBCW3UgMbeuhhe+0nGGtsR/RjMTInqBaBDl5LH42/IQUsHhLHl1MFgRVqxVId8DTf1HIyvy7eOHHjSZl4kHwVtftqlRxFuSFXUF/tFQ8bYutfPpA6VwJ5omWVW3PN41ykdMO0j8AlWNLLaB9dByGTYAjX6cDs9gzcnUzGPIxTD5BakRDyyOe0pXDL6gaBpNx45VHkg0j5iTgTmV91HRZ4KbF4GBQWJRX2m48sVDoLJxmCj+SLKnJf3GxuIXQITIzPOECgPgiSZdzuOYFSh238oR1FMZ/MTL/r97+0t+EaOOTQ+25A7pk8Hr0+gEPCXPaZTSSsVilmXxQJPrgl4wrC7YaOIysPUGhPKu5WBrWQe3IiQeyTV5UcUNzFq0gI1ddOSc/zVC/4GtVqriztVVkP4oc8yOBw4W1fyQgu/NRAr3CW36li5POAfwI7xXKxXMShgSBLchFsfjIuuE8MMa6f9QB+CLVFxYg3vKJ/HbmSI0G84z/2zLa4r3T+GP8AA164l/VDeSY+jk0ESme9SN2xAl5KOZENmK9t0wpIY7AP9FdvCJrAk6gc5jYLnau/3cOOS20XspVje19lANG5ouCxa4VXv3OnheF7EYrw1Y7QzsE6aGHUomaxU9NUrcoivmfEna+VAhUurvEswGlz9KjZut76+XSRuX9DpvMCRL+KLY2GXP+gnV71GtTs+gZBZuWyKVQOCCg7u9qCA5kCJ2H/jFWh21tOmIydFSOPpHj1klMrVEUmeHwSMbNm+idQX9oQJ6rfp1pmZTV4WCB/roex1Cg0XrOwSp3kEBX3q/m6pXGCVXxMZui/f7784PEswCdWxOvTsZY+rI+86PDyWaWLaqauQqg4HN6VrHtv9vc1cjfkffg+a9CFd6u+BzYZoNz1HkQplzTIO2BM3OCOyVU8ECC0FJCvBVvZkfJyYFJ1diFctbMW35BaJcM0Rdex2sqGzF8eibcUCt0QI70dJZusBY8kZK64o3OL2msfEJjNY/XlbUGHUBh+vdLUvxYeEqQU9h6GXWU+p76ZskdAmdZ1P5eof+CbxJUuXFKN7l1pWK/bnTrJykprrkbzZP0XRKNIRItYHAcpontjMOQ1qfO4GQRMpOzbkxFdBz0kKnmp2qb8M8njeF6+lzuGyt3VAPG3FS03Ew9b2mxEg04Ew7NFEYt8psQvdeaX/jtO78mzdcgGdQvqIos7dOkqw3hgrnHKl+NmIE2wBn00ODFdjhB59XDfisq8QObPO+nJ7l8oM9Hfsz+ILor75dSXP/fSJ/ulypMY+umsgUJC//rkvusDeoc8QJeKYXtAeOP8hVfjEiR7dk6F/cdeiiVEw5JDuSAXqhCOlbu70nS6k/A72xAv+rEg0W2K74UospeErqNSnC26Ix4Daix5GS00ifTcpZOfkcWfAIvs5yia4vfY/iXaaTI3q6QnWLr5OBJLyZqOhiNDyNw3mp5srTA9S5sLf/l+ZFOUc2OHdPGqhbTxzW/PjSFjUCkv+u8gmZ9T+9bwTudMv3Nv11xW3qe3PlLo6xTZqD/4JHswvONglyH/65j7/P0h+AfxPXVcBG6lte6GgczWOJAUb/1hVsO0eNoTfFaUnspgh9nPQVuAi2lrMeDOypTBkocnJH5811iM0eytyIbLYVepgti+qGBVzLurg/KV+i1KE4RGqbZkN269eTQvQm3O18dS7bdyZmN/45YSfr03WMVXHzOjP0AhSO530NQHtMnd+n2BVH5rw2jyXkNCaqkodKr+4IUkVYVdMn5zmCBYN0fOKNbSqKRGUOf0op8yOaYxciNqnzulTiq71CL67zi0sS878uWAfXSSBpDBUz2rHPBgi2afVlbQ8Y8eOV5mlLae0pkKYvy3ZycgUdVHV8ZKttguSh69YYm5lR3TlvfYqQ1m7ZD9HEVvJiWxS0JHpPpjk2MO2wvsQ4ltXGGNkrdh13gXINJZa4kifFNlcy56a1shEWctSsJrXwAaeYM1UlBH1MpfYsQtyfD/TfIXt4pevKBDby6DC2X3LJblZwdNBz1zbPepYEKu0KVNS82PHNU814KsdyVNTLWVg5rY1v/5CwojZ35fywfC1oG7rF+0oBt0HZ8xmXqS7eo54mHkThiPtuf5VpQFYnYOcAEAaJ8SEyyKegTfxNFtPSGqlxHFMHpMqcO5BVGxkREiUdaa+3gp3EPaKfbuAywv7a18T810tDZTDt7oD600wxl9a93u8NcRVjAohfVrCyodKQJgtxIbQrPBXnFUkPeOiuZCZXLP/P4OQMXCEgo74BJeqsM5p5X54UcwGqSYYACMybTIWJXeMttGk1RxpRwhmVJQcwvwcAmW9g2v7kECMYzSo/uuGGAmYtmKkkMutleIdnl+dugM1bdrFGP6OR4UAeTrfFVOqIbnnbptGsd805+pNXskBxcgSipfAuVQkYm/2l6a/L624KE81Uuh8MakBwn5MaiqdiLA8DS0hvIMeWum6HcyYlVYLt+w9k7hvGynu68hBcLKkMeJiHtt/gceqMp6tFCWi+xPcy2fWplqf6AFWJf2zcQ5iugTtbZBzMyREJvvv7RkRlymboNsdpKgcqalRMHZEQmDZ8jle6sDrZuscV0cMlEDTOOLR3JzyP/E9yh7yBE5B9u3SIzhKhbHKRCCFWq4x4xwqLnqwIwSF7sfOhu+pdkb5S1qpmP3kCcl0RVDqE7ko5MfE6lAzQH68nxGlIpofjGwj6z/w1r65Scl6TOF3HKa+Nf+wLr9yZU7XN9w4j3M8lEgEMWfgw0eTvK9a/baJS9y6sX318FKWi5G7TlOPQSsaQ0E0qZYwkYHzN8lo4LrlUabKrB4JMsML/89ybBdEnMu+8Rcowm6dja9uZEIFYlHMwne+G4zG3wQIAuqvJlIEqTOA0PLEB4tRu9vlPFo6J9FJtqee4mFqZ07uAfCAsMctqjGQqcTehJLrESQBTrTi96CDSPKEgK04NpuP/fOCoBQhY9Wg1hPH7fgIg5icZOupPiPtAzabZN0tPHcV6qRE8RJwpR63SmMKR3F1SKnXc0stEwi/KydthTbXz0TAzDw+DRCmIvjmWNX5g1bPCOgw3uAWy5SoPNBFU2hhdQ0/bwDj+YP65Zjouu9Cv7NpMzjT/11kRJd6qlC1DR+3mmn87nzwWQAojoUIo8JF5eiUeS2aDQKBz9VWuJxbg9yzBzimapkyYPnGi+rf7w4uDDbnQYw07ClU0v79X8ZuSL3Og+46PsmM7aN4mjNR6ij2++ia+SN0GgzocD5jplbotmAaACB6FQlIffwCTxqliaFFmVa0gYHAUNh8dUVU/soRe2SHUalyDYBP8C/4SJfVgrCDy9ao5HIlZbbMCq2Uo/30URrZdykB0WpFfjLfp/l0kEwqgJUMD7Rvuioos5MBoWK5A/27k7m+R1NCWeCmFLVnfgTd3prkw1G7vo2WZ7oHk1k/A2wm+w6AztOXXMqOeehVPGRhzu61LZmJ7BulOhXzByNBxhsM5hgpgP53o1EkUIGyKSynmtgcN4diWMZLIxH0X1I3/qDKrod5Jn+P3Y5BzcHdMbQx0xpR0/gW3jqJDaPe5Ua+5QbkIJaEN3/odUr8NMPR6z3H56/MxdjtSAqWK9YmtgkWrf3r6T5tYKOkhCDOT2qopA0q+4m3yK3GSbHFcc7Sp/PLdZCYpoyCIxek3JAeqpawXdQbA2R6iBdDtRutbycJE9CYxhbbA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45690" y="2061091"/>
            <a:ext cx="7446750" cy="437191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821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50 Wealthiest</a:t>
            </a:r>
            <a:endParaRPr lang="en-US" dirty="0"/>
          </a:p>
        </p:txBody>
      </p:sp>
      <p:sp>
        <p:nvSpPr>
          <p:cNvPr id="4" name="Rectangle 3" descr="Enter Chart Description Here:&#10;&#10; End of Chart Description&#10;DO NOT ALTER TEXT BELOW THIS POINT! IF YOU DO YOUR CHART WILL NOT BE EDITABLE!&#10;mkkoexcel__C:\Users\david\Desktop\50Richest.xlsx~~zzMG_Chart1~~d48bfe11-bf42-4e0f-b5eb-57df0296226e~~635997057996037404~~=PivotTable!$A$4:$D$53~~False~~False~~Falsemkko__4HooU0THZk28POP9trq+pbTvvzd/gcV8t56cq85kb3NDTsUhojRA0EsgEHHMH7oYP1SYpn09ysXVivguJdhTvfyVMsBLTGvcX7WPTor/CmXaNv5MOTLr3zs9jTduarTUC9s3irkwid/5l/gwF+9KZUxZakJF/y/xkkkfdsf+XIFx9GA3w/Icd9H4gtMPdV8g5xfW7QlOOZ3LFKwT/3TCMlJxmXOB71l3f59SKX+fTpo+ZTwPPHlqRg8QkllWuLvHQCMCPPLRP5hVIsKvCKqmaqO2gLqwxWNPuo0eM3CGyDATtl8e/iW8aRABfIsnoZ+BfO+yanWWwFXTc0IwYgdHNUom5VJX8lhFX1a17XMYrOnr5wL+Vl3WjuvNI1qpcoE+0gQjHAHL6v5QOtPKn+wXu8UvVpuVCTQoZpqiVbhBQPQLcLd5LKTzlWCpVtaIEWvawts40ODDv72myjrlRQcUvchjjyDua6kbFQcCMpdZ9Nlh561U4B4YY/sdGF0wnSkAVfIILfvert6vERGpO/i+24A8HqbEyA1Hbfy3DFYd3PVNwRD+65ZG6CViAzgGLpEoV9cvX/yaPxaFub+ynI2IGL5AjHpUj94yCPPvWRAR3MoDDRVDz81rvX7rLh+8pb01dqgyBY96ReSGvhPFlnto6WBHzNDLvYknHQQDl4WJrfBiWL0J7lj/n8pdVzi72fbEonIPWNy3NjEIIHihdz3uvqIwIx9qPPdRYLUe2+JJm9ZVsF4s2ZztVhcCHZ3CdjX4aApvpIQ4QwEn2y8HEsvVpANTH+FNEJX4U4wxE2PTffPuwHyDbd+ptYDWci3wfcVDMXNJ8irfiCr3YN9260P2DxyXDkL8Ck+NGzy87FnZbbNxCp32RRRZFOQ9SLkWlySfaPMUEWsOO8psRppewKdSlNjDVzY8Qvi63VX/Mq+RyipxgS+diEVK5krCji/Nam2DF6ZMIVI2idoLWN1c/+EL/ugwcHrBk1fCkU1tJxrWycLKmksT+ltRGbvdiRGYAw2sUredxccFsueWYrxJoVO9iwUmFT4MDdMYwucaTq3VSqU1OoEL0JA2mLMH9TNq+Aoo1wB4MlHYUnjlqfCD8aDIqxW9p/AKlLWV1W8T47A5C/Cm0xKr9ybaSBkqiQYTk1IfnqCyEKtebGxGzQJOEPMl6PC8dIojqR0HPImQixxlTwX6rLW0mnhIx1vZ3We/+qMFEcgcYgHh7O5ioA+wMK0hJ5/mTFJp6AOWxsWYCT6oM2zKb/FE9cq/N3yUYe1+flvXazhGJNt5uzyBFmUfU/CKTr32TiA3oU3ql3sdK5N7Nwfr5FxksnRrjNMe/FykJ1SJdvzwKiUxC2nkUdOJ7ARzTF9ukznyFOALWLMfypjAS2UDR0YQanqfIJhyEEFZZxzKYJJ1UnNTxeZYgR1SPf3FDHtK0mG15GNgs1fhpvI1rDr1KM0EbvbV3UH16YQ4BzibdBTgAErKwmcoyPe+bwOssyS8T0SBz831g/DuI3uQvfDg+2K7VGLxL/j+BGOjgkiHEZNGrvBktgb79XDaxkIGGTYOyjPUedWLdkSNe8joJjD7Ey7DTKu/Hk/sGs6pJbtwYoGF1a3/q9xCbPYa20xAmAer2q1y4RoEBOc5L8AiLqHlcMAs9XETrVOACBVex+4B/kyfEr9tkLUkgYs8Mto1cO8ypVxCIQlzAjJH5wiojkZ/VX4c4VN5gOnpJQCe9Z9DKDXAmaWWTkn1cnM6xRQPL2prBKg7gwuzGGE1qqpUlSMikEopp1DM2xS3Ymr9OvvdSFcBR/MF2UtCI0LGl4AzKbdbhVVGDwgLjY/Ij+pExNyEavakJQoT4OIrgibWZFFtKWkJTXv6MAFnDVhr25+UBw2ac/1v2pJbS/+NyzszdHLmmj8u/0P39jNoMC/FwfTO0LU92QftAjszsbWcK5bYgHfUo0+/A3SZaIEfpuCPpqEJrIGWyT9wvNLSBvKaU1rTTrYfuoovCTKohvbkU71QXWeUV5Ry/7XMFWYLc48i/yjhbp8Pe5iWW76TwYk9XlHhhk+dqIwETNJ+/UlJMoVy3BvdgQPzcldgS00eepZ3ybNV++daPD0wXafLdGvr2pfcPaVb5uIj/sdtpz8Q8xGGsqyr0hb/V7uP6/oTQaMr1V8vCe1WBWwyrmhSoZ8mbpfXs9EdPaR3KeLMBYvb/FlldhWoVCKIwLnB3f5zLG8bBeyXqrDGsE+hCvMf7N7aCMWoiqR4RpACjcxiy5NocW5CTzFAOp3OZryE+hiRWGkgSvCBIsIMNjjoHoxoZiPFyGvofU8YIh+UaAcnml+olazmPPhRBAur0H7qQVY+j29z1JHn6jX9OUBsqI1QvZv1BZxyDhZDHzwk3YvJ7e9I/wha5btnXWn/7PaqGh41TdI58Bw/AJiXHCiUnSbyG5QSLXigaJOVa1/i9HxnOE+erKaG0EboWuZQsApE2ckoEGct20hzuc4yXyrAZQG3ohIp+Zor4Xes7DSTnx3xVTsZ7s0BMRWFPH3OYionEP1eTpJv2nnuUU+AJ+vCYMnMO6BzUuXQjMtZWVrOtFaqU7+ZikeqwGJpbD/TmrOXB7WMoI9KOKpVwBHN/j/qns5A9Ret6IRlRw8eiy8xbax8DqAwQ9SleWue89ah2HtKP4c0yBNyT1Ak25qgot9jPGZQkkOWavr3UxaTIQXjUSdPVbHghBKEF9Ly4Lo8GHG7D3/gOzNqbVuhgnJG3ehPRJs3AZCi2VtmZQTttRBZe+R2kHKPOaGje35+KcTffSuagItXHOdNjYyAffEQqep8RUSJjfjap4RaClajW8ZjEw5s9vsX6T9ghiUAfrxdgYyNxPUwJ9TbU7uNeznJseNG+U44YlbqT/xABKZDiyORXOrMDaVuVywOR3HG7ETYy0vr4K9+BXc8BDSFvdBmPju5oczmklqTKvoEwAonIoBXpkrl4u0Iwcy9WaRZP/GRgNiYkkjgisxLDIX2rmnS8wZCBwxacjc1gY7OBJKAGC11A9/ZBXaEm3JULdG/tMJ4E/iO5xL9+qEREhc9bHuyveZ7pybW+Faxy7y0gCCJ2oA9IgUBi20DA6WZT+vCm6U4akRMtMi9BE6lqE1Lj6tj1V3hqJb2dqqoVg28XfKrBAJCUa2Kj6d2m8/FSE02s5wKh0E+AnnNlUFV+TqEOtK7b4ziRHLlKUnX1xnyGeVhzHiWcaZW/4SGtbkEM1ef/pdlwy+sGxgOgRayyti0vcGzi43uX4wL6xqWJhD9QVHLWiMebsdhzPr/ewsM4B3vExLdSB0wDqccUoUTKVgxUAQRRRJ8eZyGo6aDtDkkD6tmB01j5MYVuv/tSPrxCTX0+BZmXdBrJZxSzA+t3JW0mIqmhL0BkETnlBiYYnYnmWZItkCO57gnxLq2Ms9rfQYx0GMvTglCROWpiPIBfEzGYFUlAJBFR9UwMpKdXVRLCMx8qJGln5ZiVQ+U1D0OXLQk1ahx573HPrXAY3ImfMkdqnSO2yNM1Xjs0k443aMmgjY4L72LkkW0QIfwOmnvrxATXv9FleIKdnkf/xHdzI5bQX9i00BGVbfw2q+u5YLcVhpDUmTjj2ARkLQ0Haf2lfP0LPvr3CqKFqJKK184B/ARfieruaEjsq9Ix46sHOUlYNeZuV63T292k6NfaO90z3ZCdpiDTRU36OKT2Vsca8iq9wCz6bzb/42cfY3qIWa/tW4XVSiG6piLN8RGLd2/C1GDbRcsN1ZRqTYR/zbQ24miDyrTiU+vFifE7wxLiCUpgFL2NKWpl4hlFIPhpwTWQfTSlyf+tVr0Add81g8HaJ3ylROf0EVs8lIxp2Y8pCzX+xseCU3/S10zEyU3Iu0eF6IrLbgJ0Af/+2dwsWUitRPRPC49VDOdoeDqL52PMyVlncFsC6YyXbR74c4IBmcBT0ZCft2Vmkf9DJdJRCVLS2AqWeMcWjZ6nDFxZEl6a7Z0ZTcERTA32fGZfgA+4k+6kQ2Iq/iHyLhPOPsME1lZFjlPvE3caq98OIIsSKqXiKtGwZFkCaccnX+h4LeRrJt8uuVbLoWoFlJqilVUTWyhYjjYWtzDRrCcaVhMyXQxZCD/BjIblmQ/Tt+CGMGUJ7ZykmrczKZP4x6e2XAn+CVUFMBiqSYnD1DZ8EgsjTRdaZvF14QVBf0rFqjQkMFESQUb0N7aYIgb+OFJ9qu/xT0MQ1JycR7JHzMUaa3dK4huCGC2pmYkIOmHCey/u8AyTepwcFZAbvbzhwTFD85csDeaZ+Lu7emQTIQxlVSXpPhIrVMFDsrC6wECDvRqaR71PdGz+qCA69/3LnneP0YxYELf38jRANchnmoQpkSyb6MYn7IsZb7bT+2DRNUdeT3EF49bIhkc64RlA/n43htrYDCcmWCsE0QhDaUbRzsJm1gDjbO8GH6W0s7ISnf5wKv/tYj64P3dCFq1BQxHqGbHicGGL4cjyR31tgl/CZzxgTKoOId3mWEcsmmyROAphSsSEEhfz3HQwylAFEPGpFLeltcXMYvnoxd2DnDc/9R1oUARwfdo3TKy3saHn/0OlqRFMuJC1jH5DZ8f0Qc+RllJjPVAy06//6pgzkkDgOEK02H6fsl22vZ/2xdn6+USK4lbrWYzDzRqffYICm418WPgUdftP+NYRx1PlTe8CJKBMTMhAu7ytBlc9AkNbfDzZInvSL+QDuetVoNCclFaxNKilhARgGgAZJMahw3xuNDqz3AsszAcYTZL9gD0saR5n1KCrAqfmXZoG5654i6Hqlj8JbolGEyGUc0FHTC7tALaUxVK2KGmQqxhAYhUk0F1iWkMm5xrfkBc7DXTwz+wYy/vLPl2cUn8Ac4iqGEwTUR61qmCpjZgn/j8q0lBF/lQSW/M8k+qkBTBL6XD/ENMpHiKtjVj2YUGVF5G8kmAMlJAzdtm7vMFhh+32sHUmYK1yRowek+jWrFFXyQzQFDRI7du9ly2Ogtz353T4cGrx5hLNkWxTksLfT0xK77RMsxUy7nnfYNfk/+myRQULL5PMyC6aZeU4lqMqO+wpedn4Ulp8PxNNb42eg9s8oxwqzJrQK8wcpGtijqHmR/yk6/AuidVH9dlLrFwHqqmHwDNpg0e3tsKS8lbjb8zV8kgX19vqcmHStDjKzcZJfeos4FA/KhYvHpF2yY45Siahln8X0eFmdVCGDvKKlcGM/Y5y0h7cGZ/nxuvJCrgg3b2nECLPezvnFhPR9BpVXwHPfMDQ+1oUT/gBHqe9IMiQLCpAh6eBZJqgip89jwyWaDqL++N328048PMopeBN6/qCfMc9ZWlzxUsvwSQpAQ8LP1iYRrmjE3aGWkX9hW0Lns18/9dC6C++XXEJoLKUOLvkC2pzo93gkXu7aIQnlRX6dmRsm9b1DSfBoXk96ng/beQXQi2vRncOIkseyuMp4ppNV7G8D3y/J5hV1RdlZKCUuyKFoZoE+dX9ZwW7Jjd4Sr7C4HzCWuD9C/c5/9PZqvJegjH8XNc59Qf3LTf96Ir88bAKhM2Bno9WeAZXNi/WF/S/zo4xOs5W6UVqIT1e3k/n30BRhextKFaxGGNkx2g/9oYn+oK8aw0ymDDtGcqjnAfr8E2GwkC5/nyIEjECCycxEHUh5tgqnWPaOqlNgIruHkuDt/80neiwLfsyOJ/P5PKMDZdm4X+yBt5ZdHlVh1qEhf18B5Fwe7VmpmhYZBFLqFRRWlPZWLHTOMzp40EMpCYodNT3rnBJnQOBCoooox0eygjMGkVC2oXmz/6MCU8oiSN5BN4FohZ9Tyls/fV3v+dvETIm0mOZs1h9RmKjQDcEqeGuJME6F7tH7WwYofs1oP9u4wZYaLqXCFxShB2bh9LwDYYRC9uBNQ/0ssEZQ0pxTlafvbEjQfcCqYbQ/QX5BnWqCZijBgUgbirS5tqFs9v4EcIlmmmoxi9atWVDAb1G4Ox16j2ZdGYa+orhk8nJLMleOwwUtGA59eRy6fqJTpWeFnD7NDXWvmkEPIXENZPR8osLvISJ6yclJGpHcebm+5kvaifkcCJyScNe/t0j99CI7TDXfwCVnTzM8eslK9j9jLOn//0Rdd/Faz0p4R4ghLVBg+mgdHzuHqFX1SFd8RFDSZGzloMvvM0VhFMQdw7lcSowbFFfoGrvEd1FuYn6tBGL581IDtCd09zut2CT/R8IptFEUanrfkBnBXixz+5wIdDIGbFzfUT7mnFdUSuOW9UqfByzZqWXPuLi259QJWM9EHi0yKTWtOWFrKsRbwmPIxMRAqRmaiBMeqUV2OB+BVnw5hDU4E1lbutSbyhLtEu33RDdKkYigcZUV5iYqVLOeSmbIerehUtVtEv9C2bnQpBkCRbjzQA5RZ2NXdlcta9qqvJBFoU22Stpo9/1RW5dbALiEPhVsB8WQ+p75QxXLYy4KdddjN7jXxFF1xNM1nFHfujpBwPW3OODLTsNkb6LmfzI1483FaUW3X/iJh1ESZq02xWaDXjQQ8YZ5fECJASV4ZCAWjP4742+4FUrpGsMuceRM5lCLg1fmbLPHq06MKY1WFyb3W+H1bd+zOXfrihsUpBm2KnCyYyrOLZj4aJYtwVUANtQS5w/dihKbaPonkdvqVs4xq+6GyshryweMquHue1o1Cg2L8uE/kFcWaWysyfi1KJqishAAoNqEQGj3oj5V4Ta3VNseZZ0yWB0BUndtXLWPhLLvnq4Ud/TFmmPRcq4NnpMZaIP2k6SYMtniKOe4Obc0hffstjcp3vdQ2hINu3p6ohhkR5goWIfcMhZBj7vIryT9cfCZupqESkvVXeIDlKJJyMeXRzsJVKHuJoESOBexKXCNUUZGXxodE9hP9q8HJsXlFv3dXZEyTeBCeh7ksjl/bStQdU9RUMpg/97rDaeguvjGSA1+APJOpFW15lQUrOtKst5vrqz5D9JChhJ08FcDE/HJfv1nTstCKfAa1z6G2zTeeTlwORUinJkODhE++vkbbjXSxpaAE3zXCYALNw3NYIMmrbCUwnlrp09QMeXDm3+DFW54W80T7KPDrUSXwuTBx3DghdDIN3jzJ2g2+uOq+YkxSndb8pfbpFYh8VijnCxrNvBztPri6xtBd8y1EZV1+KY7eivRdwq3u0j7wqy9o6Yu2hKWwK6AWGsQrI4MaviY12p5KzEt8pk6uI+G3o/lm+O2k9z7w4SX/EGTXAAiyKX6cXZug64Lb05aG6K/4hZuttgTNJF4iGB1jj77pljQ35oaozI4wUwBaf2KUC/Boy6irVnxztZYkqGGHYZnbUuwdBxgrquSFdWm4ivjNWFeBc6/JDrmCqBvfPld4ncJk6Gyl+nSZMgVFORwI0ejCABR4LE5BXs5TJCI3M2K3B0Ko+bp5NZMPjRwisU+u8KZOq88AOi8aRq/bNAwYzcrOdA4EknNRlIu2yK4XErrgFWxDsi99VpxiWwO3UZqFqiXYChniups5L2s1FKnl9+IP5AqvVGQtNnWnncYHRH6pNu064i6pcrlJtP/T19OK1VCKElEI9Zu1nSS9cBPIFpXpTrU5UXs2X4liXARTeprxo3cYrFX0Jq9hVnI6uTcDBOvbqbYcfDvngBNmZ9ZUhLd9vRFNvJKJ6l2R2S8z3B7QpXEKr8uHKtLY0dQBSQfVAc3QG/jQS1Unndune40z4lNcUryOcwkw12dhvdhituAy7i/HPYEXKCwdJDu5g7W/4JsOXocbiVO78ysC2k73jpgt1tDONAPIiSsHmi9irf6F35H2IPuFdCrD6nVBzqYyldk6UkBgGdOD7t7ZAslRNaWJQzhQ9HD7/YFCXYvcVyTcBdICDNFjYstBUgdiMlyM5nM3gdj+f0QseThqgbhKCWkHot3xy0COun0j3R8a6DCEjegH5EreDp0fa6v7X2Ip3O0wUqFc1pu/qlkpNmwMWfzOOvNGHMo2cM+yunMfk0EsQyTpxBw/49Q2KYNj5Il6+f6DhILX4WZ8jSZFJkov0ynvDzwTmtN0//+LPRPLHgm9HUE7rRcEfDouMYcfpv73KgU1Mqt7P8/ZgFJvlWNoeOxX9bQHVgNtbOYiiJjn+8PSrZBfoD7kZCBiLttRk5b9x41DX5rvY+O02ENuDCKbmlZUYTA63B95tati/Sw8Epa+Iol6WBMP5qK1fo3VQdNc0kdlvFAGErlicYSmUw/EMxU33l1BOoyb9KE5wakwmLsxWxdJlcVXq9DE85I3ezPAR3E/VZ4DQc0ouEhJVizYbOa598cMwfBjyr/SBjfDSSt9cCoVJ3HxZZKx/cS5JFm0Gn391ASONnO9Og6fUdxTNCNGaDZptqUGSfNRrEr7RAFhaEBEJ0G0r5VVVpt7ecsbdBEgF+YzyU8fHe6LqHdBAlx/dPRhXfBp7nSfWKNyqsI1n/VHhE9z+lSQKK78nXkCbTS3H9DhkwYAe/qX8XfWXMY+kprCLF9MvcZONmK/ZMNkojlyP7EzT3AS3naD8oPRwtL4SR21phX1dI+Zv0yxhKrPDxtQCSWVeYmXcqLEfaCEGc88tpQSNGD9iW2o6xKafe1qGxZEHU8QJiR60h5YNq8DDtjPG0t43RxhHTC5txbvWFktAeFjWYx6XDQ33iKlo5mpkzEitQhDobHQXwbd9+e9SQVI6oczIaBuPM7Ma5NL0tf+LweJHd8puBS6Z2Blzu9yCm5V2FnWomNhrMJYRpxGO/T6OWzeAnwCZ2D3neG05VE5dsxcEjvnItVOLNLiMZoqdtDx6i0Va3seXw9uv82uaEwh6uvIdohSOdOTJakmz2yk2fJNk4b7/iX7amLsxnnyCZT4/I/BkGuxUkNCAaWDjkDNp510IbPTglODwyz3KymnX+dNXVpPeKBh3HTX1yTYWpBF0BAHGUThUloRnwAgd06Nx4tV3GTiraQhRJ+AYuNkZAhJ1nR5b/5GUijvXl3inZPykVxLRXpyKAxkdago7UmRhOfVP7xHmvT108k/0O7mVrCGa3sNJYpM88+JLmJI8gZ6YgQyej+1aWn/ZfXTEc083P5F4nU8KXXELkRJROhfnjc0Whp2uRdVw5YPGxn44zg8fKIWgxHVZSPCaMNJ4x0S9s4SD6CI+1F57zxD881/sSjFlc8drVJGMALB4WUGbeGW7j9uenlcFKW04fHqqg7lp7vTsBSYLjsMFts4gOt7m0TIp7rNDunxb0bVe6tbhb5y/rN4m9fBTToex2t2iWbDkNB5iO+hlUG6DFcthrxFI5dhpZXUuD59hsEAiBVEiW/6TXMUMwcWeKlMCNRJGjeukl7BgS0Ya8wfl2R/SjiVzllPNg3EDHTO1Wfgr8Bae9vPQqIzqlMYDkNWVLjXDpQXK1wBcZlDDiDYsqVisHiwoJWX6hAgDjeB0ys3E+jg8z9nj3MDAkGbrO/W3safqySpj2ONBxfR40cTszdWBp8/oJt7lXzK0eMsfPHArObrVI9fZcWAYVjuGCDzwbnsrxoghmpSoH5KFkjpgEV/eQiEFu0g1iJTrDGR8iuah2gc456sxk4/56EQKW/SwSPbgdeLJd433qUpD6K75dInJaxSc+BO0EIZiGqZT74BFWq2fWl+SX6BBPJtimL1mnZG1EGwX9LjRvTIUq8NPVSH9qlXPebPpIwWASfED3C9HnCr6h9Qay23+JuVqz3ZNXaLXR6PQzGYfkv5+1IeftawW8qC0+iCA2qKTaZ72A5SjpFLipOVZ4bPCCiLjx1rO8NGRXujrHXTbrc1QSq0u2kVCSru3LzlK7xZ3pWcZn2xtSSSDidVwtqHQhRZe/OgPzsrYRPmFT7v0Rb+9i/ahDZ/aH6gHYpKoOYp03HR7L58j8T6ZcVNdjrUb7axvcBpvJaAHu6NSTrenu18BOcOxyFlsWCR22+0KgFVJh5dANBi3nJP7h4h3+68Iy0kIl0+IOuyY5GG/t7X+ohPzTZKYlqv3eUR2vDRT9tz6EvhrfNAG2LOKpIApqw09bIHxjsVK+D1csbuWpOqiX+4BsCkY9yh0TN5XkZdzGb3KhX6VjBuJprmYeLM4YZcoow1d6ViMrTujaYgPtL4CuQn13H0jr2e6K3MqpBpr97Gs2b8bsZAWd5a0gaVG+TXAbHVNdoraVKfDP3iSdH7dkpLIzdQ1x9sIXaod/CSGrRvhdtpc+GoMmswb/bSwGd1VGQhXjJTswO9v4Fq2DCwnNvXG+2DBaUlTTrVCbvK9Ml6fpLN/8qJD1yNecd8Yua8EcJadsA94B3G62As6emNSPSlQSpIP59ivKZrIWFecYLYuyxXHzMXZzPqyROKmQeloI+gL1QpsvZkDSwlByud+PO1sZr8cBBvttc03ITncdqA5qKbMMcX0kVGTzt1YtnXr6DvVjqUFIEtc1qCsT5rKeIvyCW5MECO3QALNObtNebqNlUhiX+sHytG/Ng0P8rwaVjpcq2YGh4Rck6B8WLAXv0M4gpKFDzUd9k2NHMUlvuCjdFsR4VHF6/6HmkKLruFA9dlJTjpchX92EcU+CPw9vzlEXxXnW0IcIPzZ3ltq6NH2u0ghlYIcVrDVwXPoeEMZ8+peMS05ZQdkjn63PJqZ0xkBdRBfAQ/na8dJ/4kFe89ip3ACHlTp6HNYLQfA1BIt657eM2nKhERVVAFyxNs8NM4YwLac91Oc6DDi/mWuxQtsFLS1h6vP0Ie8vzz0KRLYgxfyi2Glx5z1YwwWLnQJ7QrVMaMijjBe6kmu/8g8cnPPfD9hnoQL75jvaIxiAsEwRBZECjLekPcAy7q4PKtC/cL04Zjh45NjoPMAkRMFIgd3ushi36vXsoiZYVaDn60UKAEcC0w/fmQTVb76VFo+GT1/dBFc8ELD//oJWbn533x+yBDfHuDvI4+874C8Qv9UxaOSkQebDzsxmHzGdJasvQ/5M4mfT1BhJzLWd0BfuN09rxwlE0SLUrnHb6ZwdzvX/0W4qa+YswXSI/kwSEXYHGCphCLqU07IiKc7UIHT1w+AFJDIFC3S0N8+0FsCbt8T9vAfExwL37+BBd6HkeUzo/cBXPSa0yDylKkSPy9+XaS4RUb2UUX6Xinz46iYDB4sF1mdrlXN/VC15r8C3W04OmWZyrEXQ1tBbLLvZOgT1KpIDzNrYiEItoa9uWYsDsLOGcY4vNjNupSz/WVzkGIq4Kdp+MZqtKOfP+UnxD8swK0ibNMaVYxebHd5PzJpyXOakU7EF25aQGegDrGYhOkzKSVY8m0wfrPIQsE1Z8lVC8/faOrX7OEySp2OPk7a5fQC7TpsOX9/uw7vTAu9D+M4g8Xk2HsqWewmhVK9yM5pQ/skVuQ4sZKsrBIpZnEYJ/C7DWEHYfukSdUt37VV2wpfJo3cAlqMZH3q5Cb7rMkb50h6kOqfSVR5QBDHiikSQ9ReVa1Qp46zfccWR+XBvz2aHeCxVNk3trZKZ1oQyPw4X46fkdkZ2EDoh6uzLZAprhJy10cLEBq6OftYNIMJX/m3PvC6w0k9RFxG3vBB9gz/Y8NZvWs4EzeVXXb/eDqiZwptQuoWD1YPV6ag1o5z28vzwjfnJEQmLbdf0rd22Z2a0VqXloL1shOcrRsyBo0MxJLE+e/QRXLLRfnhVKEumJkFgS1ag+esUSvUOqgNjjygO4e/g7jIbCxpLbiYWRE4w4KW4TXBASIOig27xJSDDLGNwUQjF6F0oT2bDg3Ya1/O+LbHJXrUBLpyN9CLx8CciAA6p4JD29XF6hdffQQq6hLLGWb9qG3E6F7fKuj/+kPk6Gw8nJgW+MXj4g732jkMSTyvrhWAPZTMz5nU7KmvyDFNvc0Fo2DDD2/5EaCcR6fAAWUZ4WsRJ7f6DPcrNm1m38SjYv9qmAEaZg8le78NBvW9jJPz4TlgNwYHUthxmMTFr9Ik05nUd4HmRfyQSk36qvneSEyopKEIFfdfgBvvK8lhUiEJQV7/lgU0DQitaH/Vcz0qC3l4lahAogh5509AH8p8MujPVuweF3EE3FiDXFlFXQvNf0dtPiQU+9tYq2NOjt1TcDeyn6OvkYw0j/YRBddWDPsLKGFT5jUc2J1dT7hWudWjb9ZYxwZ/75WgegZVeCUQQte9JfLDAqkoPTcdwJa04AWw8jZMqzokI/f1yPQn0QGwoP4Gaq8a7scnQp8i3YvabnxlN1+fvBQZQw7mgIJAA/fjiNnX15ST/lissLxPQ5URcPg6RY93QHI2dqT3RQE3aQh8IPHDCrp57Hi8UZH7PRr5tu+5iHfxKzoUj6nnzLmUY7CErDXOxtbe6c2r/j7obTHFD4baPX6LpuBI5Iy6Ck5aMdDg+ze6z3ya3pPHT+ZGI1LOlrU6OeF1EadHiGqWB9qLccCtWrUFTnpmBHcAMLfg+lgsITkS9FDX6n07b7Q90ALuRdSa4o2EXa2ThOEs1Hm/BoNXbQP5elI1k/a2lfVW1FZipgzGn3m2uOHJ11ChEOxkqV0aysKouyZvLzezK9Tb1d7HZJeZB81QiBckcPBtZ8nojKN6Bk2AZQJ7846wtOcvY/y+OX0CsYly97Q609hAGR6dX2z3wQgudt2SIf+ODyTuFBK5Vsn1nNvV6WyI28izhko4voo1iGcbfBR4372N8trnEKVo3HtVR/+2/RvYz0ZW3Un1mypl5Y9AurGDVsYcJ9KsBvtVmhCfWDIU4nCqdJPF2w3Ci5TTJjDoGyhPcwRuYoYp7iaDNlK9MEPWfYROCRadioCZ//TkfpApYJVZXJ88dw1IiDx961OXzf91CtPpM8WaluY2Ye1lOz53Ofjc0EfghWdC1WF0I6uBsZhQfqBynVzs/fxuXpLLL9DU2E+SL+j2sDrlYbZY6fZ/VF2OL5Q5XnlBBwbY1h80m6dEY8+L7GXZBnLeJQaUNgZD5QG7dDipAkGFRffSQEobplfviNWRBSF21yQGbQVbUimNeDgKxiYmQ1QAgK+nw3QpEG6kkTzOp3bNvAFme6kO8iPQlI6Ap8TEiCVxH3OV+5xbPn2lAWEN0cTdw0nIB3Ui/gOa6Yun3mnWMfmY1lXfJYkbBuC9CiHRbNrN+5Q+lGJRbW5+aS9qQs+XVQSZ66QIDuHiDh2KWsJyeVcADIv/3mVfiiRgTuV36GXZnYE2sh9M6TeX4EUR/xbxKrs9uhL0hoOdjTv5q8eT6eIZYImQ+Lq6okpqGvus+Ew26f2OVOgdXksvgOW8/SyO+Jy2NBWLHpFajJ3Btwex/oXwtUz8DRlDfNSBolt6WIiobQd6jcTNtALZ4nk0kkakxG5KfJUqJMZpW9sahN/61s661pqT5jBSJsNQ83U7jlg5rP5ZINXOqxVCvkNUlDTR116GfXSU0weDbFQcq/MyyJzrO2Vk81TtYn3NoYYuTVl0d6nDiHEXgLGJRgkSuFSKlYt2sAWpWscV8cOJE4mIwer4ADVWxFjqYcTCcsI4u5+l6YD0GbGg8HFS6/slPr1+kIhvHIVldYetkK5sZymkhzy89XhFfNGvhr9QcgNA3oBRLI2E9I9iFXd3jOFlwXowwjvLMolj27jwyc/3qV+IbT41L4D4rYIaZEQ4458Rp0Kuwz6Fqm9D08xVos5TpOF6m7WnWDQ6ytRxstXo76/zmu75onL5kL8NYSAkpePMh9qIJmsf5J1EY0ESxkBZ1//K7RayD/mf4JBlx1Jb4/suLifGMt7lmqf7uJSdJUMRUU6Cj35CJcEmyPlaY1G2QoOuyxLO7UaV8ig162ADeFyc5NmtuXON+xpm7T1exlOgD1HQ5xO+Y5ty44+S015EXXjPs/wS5dpEiOHIV0oB7Hy1OynjINceHCERXBIBgkJcS+3WQRPW3ZzfdYsu1fH7Pl/I7y28a5QUJkmk/FcXgsI7+yxatnds3xoq0M7mfzRSo5Etw3Q18h9OqudYbdfpqw1x04wXjvDChY2Yq1JorjwE7gjNo6p9ZQ7qbZH2dkBs86dZQSjhPRjLAAuwjwH/LZqotPDTC1V1aZHhQTFQEAnhXc7A8docRuBTb/gczd4cIdQQGdXyRnASL7m1qo+FgdDDeWl8AZGwIAY5g5et3XqzI2VLJwiIz5TwXDZ9sl9N+LWP8pdVC8/sVKMkEym495NAurCurYnMGMImMnrJdydoRTNvplzui47WnWf48GLmVrGQT2rmZFxy286wDRpsOvpbtYJSVetbjSIt1ulWNIFbloHg1vGmF8waLelwYK03UxlQACVn1XBLHudKY5SAajCv2tVbRZDagw3J0/k5pVNoYRxpQjRS62apm7mvQ5qJt69oy/jX/w8QJP64GciulEdpZ3zHSt8yECPIeuxE2HiJE8O7ORvjeS1s0Y4dnl8g5J7HYXsUF9jvnCErgzKDuAiDJwr4EYKA/nPyvDd4D3xNdaduxJG7sCFS49iFGMnASD18oRE+Iq8ACRsyZ5YYXeBmEijRnPOHfdb/oRKMKZdTRBHr8idy8d0QN3q5WCgerWt0uAH6SMHa9AzCGpRntySrsVbHt27DJ8VhOjCaRDNeBqnltljWJT1ryJ3eYxu1vTDZSzMgq9T6HEVyWknGOpm63bJDlzT36UCCVG3mx3qhji7eDZzTfJl0MJGXUeeKXfA3JcD7jX4WObNkp33N0/Wbj7DoAn5H5L002tnfFSwUG4Ui4fbr6K0x0ClZOErPM0OzP1u0ZqspKB15PeWvw8sC8RQfJLJXUImhstzsxsWsEtqlqm1fw8rxd93HGp5ofRl5roLCepYG2wW/MMPaYBySP5NNyS5EJT4w9h6ybZmuHoW+lcY2T8GOdk7UDgarBfokI6XsLMFkpF5EovlLGu2FmLrG5DhuZDoKVuZTH/rCLsBocHFl2sLcQ/U5hOS4vAGWPuYSmpmZZvkOi6aQRxX54k0Wdi5U5b8V4RtjyKNf7bBB4shAdweGLnIwepl/GMKEYi2MkTVlDTGsE0lD1joeMZUTxpICiml+tHwDEia8YdBUIOXeE4Sf3I+OH8Quvj9lIZx5aQ9TgAcrZey/Uqiqf7yjpGjR2CUtjItuEbOvcRPQbBtQaPCLYxlUiOvBGJWfDkmqhiX0yb3/FSZyONjzLOOZKiM2SJPfnB8WC6PPmZ0AafVlDlqbCT+SdOZwD5cgNJOKqTX6KTkXv8ZQXOVEmh2jmD0AxgV+CoQUE28J6jml9pUah5f1/K9M0Rq7M9xSzMHqxhLRfQTwdjyKhHDccQjUKgqoGvtOdQz+tvIA+lCk/wSPdzKwLehOs/D12f1I2WX4pE9+sKc8SaCcdRvuwoAtpm4iX6vzN4vMgG3PyiVlCDAdwbOXyi6Zw804M9D4Ma6dmbjhEcWQ9JL0l0XYUemeHDMVozKRYFzJmfPjhmvRO56Y85Yt7Wrn1IVgdB0LQ1Kd04dNevGDbr0PUE38i1f9NcZE8EBHg6x3+E3rkgUmOK+JRvq/bLykWwUANtpfEu1fC1CQW0apW5dkpAroCj1lZxrDeeMD22a19xR4h3nt6t+SzbUqtR5vzhbRfZefKy8Anm1xd4mDU2WtelktV07NpnrvU/mWTa1c38vps/184XbFrfoWUMQ8TlDH942dRtG1/IRGf1EbhonDY9WbE+fd0APUpsmpiB6hR6Ai7qRIe0juarLhm1uS223orDRIsbvSIpaPZ8bHPhnz3NTaR72GiuOCiz6E38O7wAFq1KzDeTUhnpG+gSPtniHkRV5xvxJvkTZ0px1XJMMBihdrET8i4bYvqoXSEgNgY4Nmc4QM5n/Z4XJTW5Yg0ZL+HPnC8k4Z2SbMHEl60fdPY15x3FaYH+AeeWklNxifc/ZHR9mRVlSMhv0Sv88tCwZfgalcIDAInNYRDObN7sso1FNE3oWmMeGlH+IkOxfInujjriw/ZpBmXBVUF9ETckm3DAddq/WMmpRQ+9XWMyBkO51rJn3/KV9eVyQgsrRKUXebTjMY5NDqM728rS2AI8M9ADtqK8EXtKiJyWLewWpy4ujKnapJDUDlLSSRgfejQB8QES+5GjI5GnKun16uXMvLIb12rMKHQCtYzzHBA8F01RkbGR3HP6Sd2v5zAWXC/uBvCrW4xf5BJLcCRRVSr8xcguNMFj7MPINSHgG5/aTNTwg2MS+xvXj3AJFtxlLHjNAGP/wkgEWCsjeZZnhYWbWy+cE7LbCl/EzAL5Y9v0a7X71UsYvQt1uuUoSNpl9JvaI8yCfhTLHu9quUI2LFjrr7JbXIIMlkf22hARXliiFtQw2iID2GSJ2hvFcqEtG63qvVUf3ZJCFuv4p2phzMIhvfoiEp7w6m+6tmGToAznYXNTulRQqmO/W/nQQj39Bmd3dPIL5NempGMAonQMjMeLyMrAfU7NWJ87383nlKvKriI5pZN9BFjM+5/QxpkSk9EZ8QI9kbOtVA+L6xUhnG90LMS9gNfmXwCg+Ew4ijXjShzZIl5gXt3Mo/U1mtoU+QcHhCdZQgHPmzM3Qh1c9ozhOinWIpwNNc2Oy6nnFDrXxQIijEWmiSepTQqEQLPL8br2R6Nq2HKdvRT1rDYY4ZP0cHqigWDYcwuBtZbIa+/F3MMbMP2HiXMmhPAq2gA3I5S/VfDf0VbeZ4RAZAhVSudITyOhAI9v+1dyleoy2miDSBtTYT9GABEf6UIolOuuICG63rvXK9ZcqtNDbhlevaScE5pW2Hh6b7HFXY0v2HoJ7M3PhOIhTcuUnN2HDQLDUf8iEy9otRtbT6MlqdM24EEusD+glDzYUU7ht8KHXuq4ZNNu/rlpI58kjwKdTeTqc9J9G/1IPXwLvsD5CQ85jOcNA2uZfQDcGlny73N6gRuWhV7f0lp7HIYQNsXrfLfSlVWZNiZUseCVvTCaHTc3QZ/guK4Y/wxoSGG6mjEb7z3nKYTqbc0v/wmTAOoUrRXvxqLPkpWzgXGOwV/sqm8CznyfiptJnYOUZguh32WxLPwXhMHj5b8UPwF16zayafkk7Qd2hwxYMUNs2eutpXjTAwXkF/ZHEg3OL8qo4oYPiXjiaY8UkomEjlB109l7dstMEFOpKa1ekrHOnFQQD0jXszgdez6oaTAUVzVCo4M8vZmIqxbKR2DdYcax4PVQM5dSTwGQFvBye9BYO1IrqvlN2XIlJczOM6a0bPtim7kgUVSIjIkhC0n0LqGQn3zOjGFAdZjJ1d7TE4HHe0DNLdqCNuyCh2kyYz1lIrKrKxm0lobij6UTNWftKfTmEZH2HNwyrzyvQMwkwAT6AhD/YLrUydu5f9by3keZabMavmzZpN/+zv+kP5y8bs4F/QVyOePPOmN7a5aXnGAVyrFQxHpie1aGXWZ8PgmoEdnNvzpisAYZGS817gOAN6qPP7ck2tOCRMbAodDrTbMVYpmrmwQ7zsnyuqGyu93Rx7qfbTTvvuw2MUETV3oh+CXtvzXe1k1qPlinRzq5/E9KEAmqvsKazqy6/R4vec/8vDO9DdVyxZzKlfdofr5h10vOUwmjmu35oHgtLbHN8JYBHfW8zufK55gA5ga/ys5JCjz+lqs2j2sC2qbVQ/sNHJICGzr7kOnLZA69yc6eBP3O63x37E9IbTOKhW/xw1w3ux2bSsLuiQsJTHk73jUg+aAXPOK5SRKuZAmu2+7Y+YeoFQ1ruBYiuaQU6e4ow3lAjrLGrs+MMEeem8zLs248aaOXxNnHK//6Nx1Zm83ktrz75Ow1orDnr8IyLnRRJ/c/w4yCMgx24ua+/MMO2LxlVXNNVL3w8MJrx6MSBmIJrt316zTkT38ELnoEIrWgSjZ+ocDyZ8dDOH3K1FGANUOZ4hshBxhLR0k7SMCAZ0TblUnzDqgnx1uffE4VjzToeNif+bMCe/EwaL0IqZOTA/NNha7PjxCFr4RIhURG1Z4g3O0gNogNOidlm2ZTeprLUae3rR69OXTHujP9DIMMGEcYWCmLCwcRGRmwCyrULmJuJyAr7AKWLiBFhtLSEayInfvSXuHP21++K2mRUA0N/K7+ym7+52RGSkDZSTePs5L+KCfi2eb61QOKpro2NpseZKEl68OSnH12wUrWIqO+ZvQfXio2RjOL10E6mUGegLMnZWA0ifArHT96a5pYeoz5qd4UwWO1tmCo1QUymiEEG13eah+HNspr18MtdMmJ6AUb17OG1yjxbPCH1mlX/yRRJQHhfvfMNqGWkeum9ImXoXzh+cyGVF8gThtigmxJUzUJC0Mi3dX7xSkNXiyKTud3GgWefWK2AQyVs1FZKHUkW3JWwwSFCxpez/4DqQrIh862wEbGNynRiohAZqyXFFr0g2g+7quGAeIwvdMRhNlzpqv+GRHCOOrUaVh2E6TTyY/IbFklNuFPKxM2f5wjn7xhMtiL2pPiVKr93EhcMNNW6/ZCwPLZGmVG2tkRHLjq0jEngpe9C+2/Z5pvtd+xcgUM4XfTC3gwA+GlAUWssTsqdtV1mfBbUchjo34JkTwfI8oFR2aqQyxVyDnGNH5efQoL9BFEuGq0/gQFuNJQ6j2pxC5yiShDts6+79Ce/ael1i7cN1npUKOId4koO7W8CqSetNIAleczfm1I3sUov0wdl9vTdDJ5stOq58OTj9eancHHLeogbe1nbxmAVbW0Gx4x019bxTSiHpTYrnOEuWZST8I5qg9bXPRX90w7vloWHrANsF2Tc5qLfUmSsZXjI+4IqelIkVP33Q/xE0F6aOP3waqiJUr4cumtjhgUeeNZ6wKCqgZ/b9PWa9yCkOR5C24AD3STytp6HhZrwyKC8mpJWmIZOHYYsA+Z3RkK2yrAu9ll4A/q/NUhavByiPWubuhvWU+APrnzk3NV/xSJnhRoGArdN982CnMN6s24obKsIG7uHkQVbVoEinlONfL7HHn+R5vOYTulUQea3EeAYOf7Y2fI5eyW3i36rClWRg/bL0RYw+6NsKMZcAtJNZtfQscT7xy7+JWS9whvUvnD98slZKqtjO2ksGU+A6Waarwh9y/JoiXpYgxQb8CuMWPwlVI3fF/emoGTl/ujaOTtJ1CM9s1kUdLkaQVUd0ZudgQvzAHsaM44YSZCYrxD9nBM7keQ8uAuGNPXuSil1uhvgGZKFSFxS7kGje1x34cs5r86RQsR+U1ew0HY8+1UQpxQTMyv7ACdcyxj15L5c1da08F9KJCGhkKQh6b74CR138AJLdp6msBM7W2opYAAEsCWh7OJyNu16M4zApuDXeYAq/BZF8LP+12Tv/kHVwZkrHlaldQuSmMqqU631bRZ/JsypK50rFKeX6u7np5BqdW1+fEZCt4MqGEDkZTnhkdoOsbxzohNdIw5LQLZBwJVX+vVbD5gMaMggI1t6aEdfna+mnlsb+es2u8ZzcHep3gWW1PrwpezRS8njHAHfq164Em2nrX87XEmlE/4Aj39OBc7wPmLb4fqgrFAFlXMbHAyjIjBXOwFYm22ZILqCVDqBlDqMpWeg25NeStTpin0VZwMX1rMRXSiQcKlROYY91heLQbTRYlfK3cF/qjMux0auLEvSsvhxUXlPIjmK9hiegtQs5PgueiXNxB1ATc50+v0eQgZTiumpJhSmefuXhZ0f/Fo/m13gQMp2fvrRsuoU+MxsIV9GAZsWYKGT6uuGsEl+7H0q+OmEL+bAvEq/pcpYMsA/PtJAvx+iT2RImVIPOoRu9irbi/teHZINtb8Wx6oiRWjKAuPV4/ZHmCWuB/aD2QvJx9omm+C+SFNsTGwsQM3+lBKO0f8lTlB/2krh1BFnwdymCInUw+eQH2T04wuQRUDqUqUzG+Gg7IjE5A02lJRT8MBC7q1UfaoGlSdcvJb1UEve8XfRtDUwuuSHb7mpPAtH/lfWy8PSlUNvZabJ3cZECtwuYn2tTK42QUdzh671abRoPG+xNlOnGYqSGdvDkWdMyckAnRYo7j9XkRgF17pPHRi88kGfZJQZaeAQm22NE6EscgCzAlcmahFsheNLy/PGB4BiVVnsj8d2MTSOaYuGCw5KaUsuC/4BXhr998i+OZgL5FfJMBsOtBIyj56TmMOjuegO417qe1jpebocnW2NtuqCmx0n6fmrrB+j40UB0CZbUwG3DPZLVQRHWGCBvPRkbt4NWPIOfAo1yP53Ps7NMchFbz8AHyuFhgCtZvT1S/+VDuD8HGCgOg9tpWxBvx9fCZdMC7tf4KfmAmlfT0rmXbZudhmF7i3IITwTPNAkblwUESW4p894znrUoRHhvokI/5BPg7X5xiKGxT7CnFmkluCtKkZda6AOTNmx/gShTZD8KJg+tSNkWpt8bQowid2phh3KKrs9hR/i1hjIPgld2rhqdq69VCRyHMrpOXgthmraSdDUnOXc7mWp84NJ8HD1embo2cbT02MJZcACTc4ljRdtgJzIzRY+dfjh0sv/mR19fIcnbkrNetYSEWMKxOnS6Rt6v3q0hrVNJxUkFhaWYplvQnW3eKWtB/ABV6IXfnICnA2CeTqroFW3lTKMiAjjAcVqXaYbr5bMdEzgzaakFl8hwO3/ueZwNoasWHShgoO3lOL0nU1tLwPUswXbjgKBkxZ3/wTUy8dy1I38WZLDQQFobfhAAz/l6wHLaOpRf5hY1JRCuQ3SlL9K9cWTXm5+C2LL1M+aM/ZdW1LxEFOeZhGtu0O1l0xQztL1qmStszpbvKEbh4xXcsi90Tk3foQd41+VYVRLOUlrgoKUwLJvogK/6uII8lbaOo8Lql3QV308kq2+bwX+Optn/ac2ogJ8sJxtCdCX/UhRu/k0SYLQwBL87MGyNFlDS80/HUnK/sOHNkZ+BHQWdT6RLbO+07caL+MVxNRWQehaP3DYzxbHDPB2m5P/JKq3O+Z1jTTQfiHfMqhMyXVcSRcL4wRFbIWxNG6zeBSaV0l0erWiuUtq2u1KMQkaLCMfb9zHuHUhXi+J3o9HvTd5qVdHCpS4JAPL6o3Yz7ky9OACLjY34sR4qmKQL6d0pWrWaXsgqYVz9fGjvQ5/pYGxYBs6L9wgQuxBI70m40cTKzA5ie6U0wA7XLcmuIkYO0x+3wAGxf6WFCeRUteEK9yXrZP90d18e7R5kDxV7+i8m6Hz/8mCBAGPxiD+FvHLBLaLbKBNlyxol8D27TsCWSYEwRAJxcHPAUfP+NbJLaTy2BQlcKuh1nroqWuuF7YGksEsKGrzgbUmMyuR3ti0g7KuTDGVC4DGYXEMphwh9KxGkGTrkyohGqjWLoBS0wzmCExBc3vjpFX3+ZnyTgl27jY3oYRdsOcyyLnJ4ZvscRutHW/VCMt2J0lEtG7IQycKtCdAluW66Ij/Xdt7LNGu2X7c456261szlBzLd5HPK43OJRcJ5+87e6FQCydd/dGPokjjq8BgC0KdrD4EMD62bzFdkXVTukmuin0vJTBmUVg2i9BfyWBZBwfdYk/w27Ic9ira9fdJho6XCihDa/MAfxd65aBkWGQ7GqSEZU+mdxLDGdOKat3SPVKrz3mSWLUS8P7RiDultym1ReFYxkdqTvJkJoOY59Gu9Dtv0EkgwITPcUrqgfpY8NB0zP+YZGmvnVuXn3O3myzZL4vuGzcUY1Q2nPz9FhPCxzQQbKeBZ1TYAik5Yw4ucXk7AIa+hhqwQgt1aT6iCwYBFffMP/QEGYfzMudR5vaFsWey4jcTXMXpZ6At9Hjz8J3/330kWzUjGCIu4Am4ymkDbfNitKGaQiuSXBwgnXENV0UN/odgPTYWtb7EXubd4JsJo+oISk19I66bPUWf7aSfEqGbt+MIYZ3cZn/s6j5EpVtEuMeweDdxeu8qbFUume6KXMbjyxgqwwMZfUI3XoiNeQSfE2t8Vi7Q8nJNwXO0ltjIOVu9E+yt1sL8E5GmQj2X05hYI5nqonGrV8aA6W5VuFOzxoBV/u+EjxJpt3hjflmvIMPbjluzQitOImxZiZYb8bycf5Z8Im+kDMjNa+KT62DGmhubbPQM4UpV4fBlN9lt183Jbo/lzQ5vjGwBRG0aDPMH2ZgBIJFNgZFlxIoljAAksBDwBsh2ZfCrHT2DZpgotZEyRxXd7YX1O/kYUJb/0eQMECsx+93aMcjUMCI50ek+Yopj2eoHyb7SKRUi6HGXvg3DQvOak9JgxPmONYb6WlPkuvdcw+YWjyLZ3aTXNka0X3tlgVGvAcSiASgoQpBd2ZGtVlTxhfSbukRzI7SYu9wzJIfKOgzl2AFJT5HR3FOjMq9d37sAUb5QBm0GlNGL0U2rcfjG0JUltJtZ0h1y6PpkibGvNFkITWV0j4cXCukfR+onLaHmzZA4x71XtvtetIp+2ZblFEZJBh6xHKnsJ94h55JkLBroK7/oTcsbq7V3WZDKPJJUo6u8CxfbxDBj6ootCW3fT3bcAwg2OaeCne6sZ7lr16QUlbqwnpO8NVauXj3iacY7pFm1sHlkUkdUOutqzRy5k6OXzLS+7/rkPak2TNm6iJ8st96HLbMSbhO1nOoQr1UemqxmamTgsf66dOTrwHXwEvjHSvPQcePH4kGtVcQiLFfew1HwD9tiLxT8WBf5tzqDwl2k2X/+d1Ej90MOJeO9ZBHUfmgkG+ZDug+aLX1gLNWaEDMIoVTDKwuR+EBjEJ6dIr9h9Tqp5OCTm2O4gI6oNHhQud3hE+7pEKU1J2FQ2x4/g1+gUP22eUNcWKtv6Oxp7Eih2mZMtq331328EY2HLKjCEvk8vUpipGN+j0A922DD6BkffOSOWfBEvZ5w3NypWy+tClwArXb+UkEaXuBHIh8Z5E+n79lLCb1KK2GlUOGu9qFmmUdWQOhhitgX/evcCypONDcEAjmRjGR0UO4ojblrxF61QC98WP2llnzg/chh+V18EMJuKJxaq3g6Fd+g+BmdzmvUYql18EFlYGkmwqWwo+lmiCEITCr9gsWM/g1/TTWI5Y1nWYHVvMAyqV2e97TG/MEGMcitWpunRH4HEQsPxwZceBD1FbB8B/bjgknbW7V/MLxIlAJNc3SLVYohhhLdwcSKkshqYX60pVN1z7i6s8tBFLHjtcn3ksLn5BXpFGkTZw0thRyQC+i0Srs5TFzrfyOrO6yiuAn5WK73OSaF9+Ifgbil6iDy+Eh5F3GU51QHrqsT+XlhuEDeRAu9YkFvbnRouOn6aLStCu0Fe90itViCFdGnETyfXJuysIkAZWvnPI5QZkVmVDv/MHTj35uDpbpcWf22pWKT76G4iFjQuTilgVS5KXrsLCoEcn+vAzK+ZrjTRPYLrsDbNBVHB5z/zrmIBIkM81WwchE/bqnu6YgJiXURQMmPnkTK+PTMztiV6DHbloXTUXSWdw+H6zntyxFj/n3fLR9KDk8rQdJk2XxDkBdwL5sFkK1wMuYTDBpfuEY9vES6rcREH2QYy8pVvT2HTS13Pn2M4knraLR5gQVBABP2c/HJyGlOH7EF2I1/78r2/5PEigpLYHZ5LtbfoQLjokdvaNU3JoKtWt4OEOk4Hl8tJnHRtWVWPD2PCQDzQtQ5A5yYDA5ocAIVwWKQnxRoO68SL8ew/7VyZAXfNQEW6eaE1gCTBGn+yjeCLjmPJCjdD9YDaB3D80JQGqhMfIhEU6tsfido9/MENqF2nL0SLlsDUaX3PcERwPYBXkSie5nqbVKEwPZPXr1BHBVrMzqPrze4ih+snxtOO4dSafPSNPMywNP1nLi8gjxQKsLcjgUqrknd2KkuR9umoVcK9SNmDsPMyuc24YNuA/sHCLwrhLXlm++Dm1AaYRSkWoJSLmXen2S1JBKrPbQdMNJVlVtxfb0iBVaTJvddfnpz6m4v+/CS/4IFBehb2cVmViSz2NOoY6e19wJGhVEU7EFATGJJMUmb15cQQ06ZuCsgMwo6jlu0AeWI2+bbtUpQLqHJzHNnp/HM4MVxW8byfhTbBba0wFsFsCtCypWDxMRn0MG8dW1DDZL2F3wQQQg8mUOYLScphicdxPpC+w0SqNzipUoUFmmsea43RzwU13GloBIRhaLabAu2Fxg1XMrhkHC9xF4PDLamyCFK/Wt3ImzJvJFgiR5s+vuG9uAZG9aX6TqFeM4Xnj8ZRKQE/O0Q7+b7RTc2mcIzRpI817ALZvBV9dMcac+8pKO/nGH2ukx7swklIYGA1rpUdO25WzvhoP/EU2BZv6fyRYNlTjSo6QKUnivZSoz4h8skhrq3XifkRnWh/KscF4UX//c2HGrFfTY4PI1Vwwck/ytMr9FppLgu6MEkpJMcmLCLMdx5W2JWN4bn9LAMwgwnZB7OBZNQvpYb5xPhHhQoSGKUZxDscmUkRjwRZx3wnIZnYnuLWzGhbgFeJlDUULlqqgRnG89k+aR9kFSMpR/QTbGbMCKntCJ0Da6px2VsJSyFQe08MOID5JnWfVBEhHSZ64P1itr95hpvxEpJnkCm1y+OeY0JzI+Hx4HqDx1eBPWuy35wMpEOLj1QzmusNxhEgdtdQhLdvMfjz3LODWS65p/2+qBuOZqdVHPs4tU33iEUO3j2BeAOB5l2Gs0CzXoWNkVHfhmntUr2wB5QdOIHkBWQBK+p5p7GWBLcuOssoo3fpCOAsinRufUB5WK1ouA7YML/uA9wPOUkbR6QaDtqsrboxh0tPrRbkZDezJbiG+liDO1B89iy0Nw9JFpAJrxSY+5VGBdTlUEhtwQQi2TI3NC/o7xg9XHgzrfDBRgLWnMaZVXZq961qin4CgjNMf8IGymjM8dyc/vnrm8kWE9M+rHO1AVFdrO2H52SFz3Xxw58lAwVfzoGHJ8l10srgf4kIiu/uV8o6VNEUI81fcvMmNsVndFBk3Gp00nkPazg6nb52uD4Y/qLMHcYLQfBa3E/zxVLC7ZMKCRi4uQaLld+mlePs7v6zPdHDCinYMXYj9UgMyElsNwoXlghq0OFh+lqomAs3ZNDTbEkwMbWwo4sPPx/XwJmquET7fBBKJqiDUKYYr1GKpxVytNsZzAYR8QkNIlKWqp5+jPOq5G6aBLJreI2l35ikSC48Rn0nLah9PxfIfpp/l96daUOhgBe+pjImzo2QRYK2HVgEd/hqdc5Yyjs4gIssaca9fvRHndUwpL3/sbCIRzRwnkR5vBcuqi2pwpxu6EXUZSQdYOP2wx4TfEjQgDd9qsdZJXuNOFGdpb2RjxRnjMtSqAWtXMVGUhsZ56WPZgRT3GhAgaIMGSACNie//T2kox1xfsikKRgsv9dmAjOw/8JpbKsHwvz75c+oUiUPgltnz7ILOfbBQDAW/hH1mdpcYTQeFmSBZZmhx2+xkbFHVUUCRwbWPAgdx3AXrxbzN9SSKihUrk5yyvgwYG6V0esc3nYforb0RxJWOa5zZsHQg5WaFcU9kPUfURAYhQi6m/pWianaZCpkSMdpzccw9yaHKg7p5LtYxrAeifb8HcVDuOV/Q5gLDN2FoKiqIuR1Lyh4ZqX+Ke9/h6OFoXBlLe9ozsq6QxqXoMZTi03DDIPywhnaxqN+bWJ+AIj0Jt0Ln0HkCD0pjMLHGk7jyPuuYgZMA+9VRRovVOKSQvYzltFy3FbPZx1lXw+on1Vp7A9vgtRXxuiKHne8IgH8FQBnz9sDObEGPIPcSsWWqL0VBQay2drp/IlmAXdqwGAx77MkSpeJX4r+iaxB8PBGm0YeEGfHGDuRIjRXOcwigcQWHRExHuF3pc0qHhf3GpTr2P+pRUV4APzcoyvkT3fkEHuuv29r9bwnd4lvM3FP/FzW2qpBFdAJaEx3KfSoD3pJIbJUubJojH6BZBq4qruXKiKCAofbqqV6WSu0fgLSF5fNIZxKDnYHHUDMto1K8HytsoBRGjWCAWE93d9FCVnc1N4ERen6zaMPDVuBuxo7Ipue3VCiWh90Dkdh7HbY0+FgAL8XbGfrtNyiXOaBluhE47VG7iN9LrHxSFG1k0DsfUfup8ESdBxoCm+Hqh/jOQ5PXwjnJhFcO2dxAQnKeJp5VCGwUXDX6N4a20CouZKa6gjlyqZCX7rojzfItRZ0/zUnkqki2fdOk4aGqtv3NApUH+1HwMWnl2k/eHwfbZi3igHNuRFS/c395nOehS/Jf4qQ0hvuwIArcm4c82hnXMdl0xmvGp7sYIeRiH2qOeC2Y2eXRGFyF5ly7a4vR0S9kkMYPZr1vK21exc+feAEYVvS8F3FdZpOpgIUXoU8V4uPVKQwTacu8Zy0GVj8EpHtbd8OGCvqfiVB+57QpHvCDAwzHoyZCPQQUMkB6o3wof7hngmbE3s5H+sKC+ySy6RIGcQrXqwLJfv6EWaWiC4I4A+swZuX56kjUaUGCu6UjFthqCX5gwY3JBxSUFlGi5h+qUVBJOyf4kIYx1cvP6vLbaw/ET5+VjksanSxKzFbhuF4xUEkKJP23phpQ2nsClNCZMq8k5GCYE4bKIVgRNa2iHuqs9sk0tsF5A6F1xxOA3GVau14PTzp+w0QjDpdb3MiCDQhptk/FDGEnvknCyRLzDwMhXmk15sD8QZRxxzZ6WXjP9K1Ku8gZtiDJSNs8KBP0mWQBgCb9j55fgynDoahrZAZqwS/Zq0osLOUlkXGU17oQ++H0cEJVLy4gOATXm8J5tlLZqKb1/OEv21mNyjXlnbI/Xd0GBzTpmxX6rRQtT+EF+DMoczXA3GU+Pi5UYuUJcefuxWncIQPBBKAjbpGHawIvROqF785AiKPVYyeT5eiGpP83M4djzJUtAA8Ju7OIVLVML+kFyhJEkDosKwWgyBkSNKqYOx/8HdYXu6puH6YllrkCFPVQIgFIuptzrPiyAuMps23ttO2bRyk/HTWO0FpreCLaCpetl47QXHxsM55NtLw90DUGvJD7TgYrEhshx+nQx2wmwgq6bR/BqY1H939Tyi2UYu6ywnDjh00r5prAvMGIkFx8s6Vsv3T0p7LnYTvKT+aem2GaNJVXm/+ImWWtBurYK7yo3FrD00ODv1+vZGKgePMqzZj2kMLSdwbgWvp1keoB03KPDNPSWMZf6P5cNKPl5ghCjpbpa28fB0/VMLGxYaNoiwBV8I59mDFma/9xFTSKF7GluzeRdVTvdjjMRzFSS757s+9J5PCzsLfix97nyNTxh0sJn+r6+z4VMY5d93vazXNQ59hzhr2YUKJjoBHttPZmwVl+RWxRG6iuZuh5xYHZTT8p5fUr0HXex45naNpRW8xOn/MR0fJ4AYcMCN2QncUjm8zq/uOho+qDAZxh9QumHjN3g3tTapSyomaTi1ITenxMXcPMsM5kLXSFGiaBq7I+VBVr4dS/a5MVF241JXHavjssYHH0zaevqKvK0YsbuWZdcPGuC9qS0jQQPkBkV3DInEHNUTEm/3GPCRzJ+tX/FfS1bNxTiJkFU7hCXSKC5W588DVgg8CZHBCM3ZU78MP9JFOQBsraEMfXiJZHFkgecRVahYn0QGuODGCDaPsKFXwMupJaMlHMeJBNSCGvqfo5e3mYdctmOqP0mtadwYgmouksZ2FmZIxlTQRKQ1xJjUJchLAmIjR6q1nL4sfmJhROlBBKudYrbeFL//VeZLXWXuSyb3Pe87vgBh2YeQy00yxkWaTya0crY7KGucUvXeQNGS8QU7kjVKUq3TrfzlQPrODgvJB+F0vvhLfn/DdH8aDnHShx5pUFCWxb9QA/FcgXYuuAs8Um/WBlTyQr7qiAETaW+dFD4Usgx/p9rwgW2dlFtYTUZBZvRcI7kVxwwF0c/LVdwBHiXy+GBcfGUDbDNOyfzmpxod3BjTvTzO2VAzkleDkHE4rrXFAm2LmDSgZQXkc9HVyBXCL2KGdRbU2+V/UK1PmdTj2o2NtsgDSJ/fZVmSbq9VGzrHGQHN1/BQaT/kCzJwQFUDlSp+KFpW4fOMnLQpTvMUaJizHmApXFkjTsqxieiJlERRNGOWEJ9wAur0J5rpoTlr7n3bjt4qaheaRUWijsN7CAJXiV98sGnIBMxYJerJGx7C2a/GULAn6AaQfuxBhmddy+tO9NRfDJpEnX0duAEBPNHt60O2Ki8jBRKomSniaF0C+pNGF2QAT2qjiE4ZKw4fkHCkN8aLAqiP3SEkhdqCWORZW/WsnpP15/xogcQeUWc614QbGqzBFj42seq9hx3mywOOfIr7SALXEOElpIoe+eL1uC5KeAEAKGYvSvCyuH5YXRPdGhC1MKb8RacJ6NdB9nIHfd587x86ZRpbMYdOF87QUSWd9HT6ocf8mLSmIy/b+QR3SRsT3B0yzQeuDmrvzoofXwfSStCanGGM5HY2ByNo9DKaXsabGd//IiSm4+mHy0prw/x0mRr0qLct4kcIdMWssw16IWyoSxPQHN0hzU3OSAUlM30Ybm7rZ5ZQRegXd2/qnv6cb0+qMLtnlgeNofGb43fJ+KfyfmTT24JyT6DA8mvt8I5zJRll7WVpzo6ujYSNgLQKQP0/jBCO1dbmhFmIXN2RRtiyi5LyHia3hZomBT7QoDMOEL+l+P25c9HR7DE5lmhFhlghBAac0Lf8PZsid81du5bwjniNpl/lEmroT5zghzdHLbUjqRQglEQ+l2OxrFsO0LGtvvhDPhAITmnsSCxSnmHUCzxtiqspL/nQAMdAsS4BMeorWu+bGHMIzaCQZrcHJTK+qMx1/M13Qf4WY4lNtKOW3EjvhpY1V2f3uITaGJuHRJckQeEgAJElUS1oobl29iaM3ULjpO2QhA+6a2mpXCfW1YNxaDw0jY6iqRstAU9ldDjPz80DVS4TnOofhjVRNueti+/PsAFkuvKsu5FZ4bHfKfIfvYf0QeBknrvc1+Z5C9O8OPRVJyrWvUE7L/bHS/XMIgwg07Kaoi2ylk5hEVm2/vBiwVZ1VfXyB3rIYuQK4zSLQAQgR2udLirCLVSgk9vmcYqd5KzGfVs6hxkIi8W90a77BhTla7JMwdMaQlM4Kgynl/XSWfWgXek6qx0gt4pHdi+xz2qp32KlaBChTC3lIi30QEEQxqKpi4fxBZA05xM3IL075tbTtLMri79Luv+ciEOixdgQM8dH+QvuXB8iAkZfe5NmRB0P6jLNhoAt3Dp8zMf0plLbA7gSYr0BDDw9MHwFMaK982ezh/+sM6aAn9F/2n/H/lZ+3hPw+kXy1hDdZNteRdYpLDU1u12Lnx8huVp/VZPmc6xmwOJrRReuDhSSabXHZG2313KizGgf6yHP9ChYAX4o6BVBf69MXwDB9DPOQxgMCFgJa74pRaQgzDlB30V0OgbPqZal9O6vgpnR38+W99VDArpePunX+BRvIaYjPEHYhFotsPI9LOEIzFwicqeWkHaW1/S4dBV70T0OktCLJz0yEWVh5eJ4qyuoJQEV/z5MQycJz37cAbjFQW1clVgSAA32yEUFpBC8GHp5UL+G6EEQDK1SlzPsWZYsPTpQclOKPW308iFBDIm5LMWZ1QAoBc3V7xiOkRSChcnbqruXJ6EyeNhtCCIJEr/wIXlhEhlQpAD0GsfGpGlGf2WcGGQytG+zK9u0AtvvVcSCLRSgBTGzM31WjJ586gZCX1R7rr5ismKcYBiAlUe0DSPphiP2OUYFCYy9+mGLgS1gjE2ZSFLYR9uW7m3m/sI48BA3u9duSHUS8ySpZCgkrouWERKkZwKigtuEXI9qXLq3G9RbjF6xvTxmefCHo8yZzdADmcMQyZ6DMnhn01uoRZ8vjVgL4IqxoqDasnog+72m/nk4vh0oEsJf79N9koqwlMDQ9DdjoxMZs08X2uqak+h7BK9c0kRLN3sraxB9Jw/4B1pqNL3/p8g6qqU3d1/QhGAGHURLIZcRHX/wO+iRPIVbbCqT00CiFTPRi/M8d3MbMuBcKVfnE3tmsLKV4Cvr7n/ULZWRvhn4pqfTqd+GqXGiH11oHNNKhRlj9vIAfgOFrRtCX3JXylXF4IN1+Sqawl5KpCGlXRd3MW0QZWnSpcyVNo0a5LJA+PyJms/wIWf6E6s3ehBTbBWfJ8k9hwW7ed/xQFkq6VRilt0r5oJMgU+U2Y+WtolgzwWua0y80b2Na3Y+/9ZkEu72BwkE4HVcTi8KGOW9atJBeScVvXtHXYren0rscYEYkhvlk2zaIKU4pIQPh3XnP2Ce3cbcKts9nUmsgpmwv2nHpoantc8EiYjBpBHw2CH8IY5TLrVPr1ZE7Dp6h3Wj1tRFp32kjyZVShotJhOYbKfJqn/gmMXir3SpLkpBhIRzur0ayTxwKqoScl+eovzgtUXzuRIlrtIUSxDMhgZqKI218mYseIipjpckzicsvdt8CGtNCIxkwiS7Aw45xJXiMYULAhj6ZC/k7u54ojDl6K4L1czv7Hso+i+EVf1V0nmDkdaGb5n+ZBP/KRKayBz2dUndneybVI55xRynmMYwlp9fhaJGH51wKA+8L76CzT4GL17hETtKZO4QLOc1anV05ljaIIOJFXQm3UnJVr8u5U2l8eJfS+sm0+Vsp+px4wnJ3X3bno56USoxbdNVJuuitfgVUBxbiXJa2G0FI/lQfSO6HvH4sdK6SEQDpnLjDc5sokY/lu4AvXUdvtxZO3JUMcd4+G7TIDIw9Dj++DurxS8L92uhPjn0zFxJ89mffknio/0mM9EW9jRTmYU+nF2WXhbC0agPFR7J/8m43BoLDZfElhZyjPIMzRoo6USJpE1CJ2z90ftVPc/J7/aq7xnKLFyKsAhK1evoIJYipq4rMVtHld+57GsxWgM4hMh6MskM5JKvA9ypRbr65NE5v9hsh376oG75TJcnnpjxYsrxfhucI7AMdDPW2DaCfQlGNF9YZ8hX3GqbK4bya+IKZrz8p7B1nki6IthbA7/8hRCGwS54aeoxiMM9KJCJkJkbH+xx6amARZ4WjnNYWPN6z/BtP6VW9MdHa9nPxADAwNW9PPWwVF462ZtKBribDJbneeEIG4KjnkdHHY9B/tNjSEwnoBTOsX7qbp4llGQWxJZh5aKJEOHpO7EsbLXtyrXWGWjKatTgzP2WivMJTf2n7HRNCf1K5zqw/pRuG6DYlbLZZ5ZEIUQjBb6p8zIgP+rFuC8Oq33rnknwoK8IbmnLIut2fLsV0D7nBnHJmrPGmv8qf93mJ+2m1jVs2Pfhiy3XGSNrsfv3j3sHSGra4uAdDT5kn/zfarcSHDc6vYKs9lwY6qqOshkyfKnedzCXeKHCCUGAIiwO1LftV7mn8ktOim7dlfyLqSdXXnya38ZJVPA6y3YVzmA7TsXjvtlQxVdmeA4DvGK30fZ6aMIULvVTwfnXSOXrr38u/kARtS9+8TACADC/wyWkoXNQ4BOZViXJBeNqy4MFiDJker+eHw7O7dsYlL+Dmm2kA0CF8sHwrrqFMgfud2DFJJ4BgDkfI0X6F/VwdB7mD3Ls1X0awmoS+BRPBX8NfzEBSAGwinaE12WULTRHuKVzs6apZcIj9PNmQb9giPljWYcTafyPyWLuWBrl+xWZpxSAip0iNlqQloH44/m22p9OJzYic+wYz/Y8xteLWNlsP5nx5NnGroX2CKAUVG1Y5dfSm/U6VSkScEtvAurKxrk56amtRMAgBnAj5TA1KM/NglOWWOjU6aFSIR6VK5DjfQ6yPx5VnGgXC22tYBxfd8RzlOezYL0urSb0IgZWRys1vdgaVmquHCdVuvJJBarWCQOK3zZGY3fMpxpZl2OHAD+DVqKhp0srFCU39X8HAAPBorY+f+ZV71Q4EJUyxSX+d+cr7fNXGMJM7YZZKdADN9XvkHjJ8Xsp6OhrOvsKXxPXZHpYfd6uD/QCM3udj7G+Re+Ch8QSrXK3g4m0bJil7/qOf1RwPC4FpoGCVopTYsGGYAVWsX2/4LB8lgwFROUKNL/Oi1mXMyY+P85znT5Z0I7eWk8Sp9u7St8UzwB9jqSbbeaO+6+4Be4UE4bna6C1qtlmduEncaEsaRkE/gswuPCAxCLrj3dzKSfRi8jbjW35ocK0qrGhkBetf7ulr8dSeJLZE161AeUT23i/yeJe1VLVjf3LaZQ/61DBoDW8JDc7g7zyWFHNn3+2nI1HGp/QaFyY36273T5FvMHxkhwJSY+zBscs2T9euoNQj6+AjsOy13Hdz9jjEj+RqP5mscwsWP3xEG8e30Plbe5ZgFGO+l5k/marc+k1wphbuRxnYIV1GPu+n78w4NU3OzGJ4uOR2i54GnlKmbAHeS6FtXml/t2H50jxLUS1O2nL1mUj73uyVUDOeEkcEotg7PwETbWl4m9lcQnXszJRlDnU8o7YqHlVQdUGn2jtfYNeLDVU+8RqJ2ZLCYc0ptKuLhCqPDqYfiAfrtMkJKlaVnKKUvPd5C7mbp/skp0eI/a2WlV61tloamvACL7qpF9RzWw4Yf1i0J1e+tQLY2cRm7P/a60kiiqhZtO/pjJgkWA4K0trs99efr1kuv6Tw22VxcIFmaWaCGC5JKWOWLNfbHP+n0pRABuiIuHNKGrREqR7Dx6eeQ1dMOC3sXhOoGEkLKfmPmAk8yKLA/H2lPbBIk7SFeRWPHAb7JwxnNPyDtf3pyoii5yW91Z/wXcLo2ipuyAVaanH7khOu+0tO5BdEpNHktiBEE10BL8IKr4j88lIcUAptKNdaDFY4G/CM2D4UEV6hTrkR5az32c3FpFj+5BeN+XbLjLt0wDk53DZsRDHovk2pXVUoKanbDtQ2WO3n4FhUhV1LkXQc2ofb5U8GvEyq4zg7/xx9XZyqYiWWS27ZonDbR+nC02cT3L/J/8iqpVFzQL3Jg2VsxfNrtjTPqXsKVtpAPTdZrgD8lkYWu065DXgSs+W2nquEswombHmpdvRJNEJ1o0b06mCjUwQGTxHDdKtsXewR4MHUoV55d5z2lVUtYmI8pg0NpAOWOVksJTI+aYec7/WiIPMG624dHmXz6RW0g58MzWoXV3Gq44EIt/CXug+5nYxnFQ20su/EJmGXixfnPdunYzCI0trPwebmkAjyNAeWYlhcciJhpbXDqm1LffsdYeQwZA8B0pmtOs4Oh7GPDzWSuiDkV9mBjmgfriCCG9uLjbK3HA4ZyUnZ0BWv+iBQCcMCbt4UB6OF3buU/Xvo0fLFUyCQekks8IBd4dnIP1NcXV2IME8NG2wvGQFU3KE6vq1nDOZggdO5z8gfRZDXwOQowZWTQVQNAWjXBWCRdPudKuqRYUe2IgYDNBD/GD/Hsex7fMaKNAMr0LCIsNMLx+iB3/sWzEqSJjmxsuuPMH5e2LZRfho8y2IUWGr7hBI7n2ThCc3czUT+axZnc66kDaUjXX4XN/3kVK+DPsPqB+HyS+zA17jNdrilyIElmlo3gnnm1jTDOam8Zc0bpgg/vrLlW3p5o6xiju3k1+cF5zubNyuhtAQ1tsPTPQUrB7Mg5Sfryz+LMo+Dp+QyG6tqrrxdkt85TG1xt6arI4VDZ1EemjTWezLO2BnZaAIaAJ+4A0RN161WMvtVtOi5HdJ5e0pZ0mA+DekkzAcfL8yZkhHPIFkanyi3+R0D3wfQtFRvLGB2ubv3U7IOE/Hn30KVEsGeTFVwvrfj8HWtYq1sv9wi6DwccfrOwy5DEq8EZbMy0wcQ2LcyTqtFLls/e8c0ldCm7mkHSOhw2ExnA/lUGoomyd5PbDrqFaP5eAPJSjZeI0VP+JQC8aMBPnsweypJpmpgeEA5BPM3KaeuJlAW42EqyM2LQvu/lK860WFJOIN/vZozLOqqLDNmzDOJ+FlNd82um7qiDyHtQcIEtd/EPrHEmcSu59l3l3+bZw73Ued9RDB0Xr9UxUu/tsNLIJwGOv1XpxVYJMXUzEo8KGgRy6z/v1sDhHjimT/SbODpMP2hma7rcqFUuBrY1LPF66XP7k1uPczb1mwb3PBHZnCLbwD4wRHS2LiYqZWDLnot3fxw9XGmSFdmQVvNu9lgQB3ipNYktpImCBe1VCm4bel/NmjpGq15lSCV+5P9tnmaw/Qf4uWp9qQPD1MwhundXYyb1b0ZuXTPSImG/bTdeGnyRInlO3gUFAH7AOchbI7zJeAcfbYLFZ+s0FlUy7F89+T5XF26pbTDLxizKKJJ2HfiuIEY8hgemgn16e+GgVeBgLkz7HZt4bdonYRZZwshDrWxn1PrlMocUzuTjOBZInMcRst4CAvQTRV+2fJ8LIqRmY+wUl4YPiCbrhZ6m8Mi1C5YGkqMiNcgs3s4GgUM32WP3DmNAF88uASBRC0o5ce4Bzqn1WLb3bTlbjoaq1+fiHnr5J7ltfVfK+oDhS5ACmYzqf84GCUPjk6XoMiOrgBIwVpElYmIzCxgbZpvqgLFMz6V14VA86qURO64e7ZvVcVcVstkXQjC587zfw2BoXRLbC4TulgmPCohXcR+4ktoocJyUS2NdP70/yRmRulDwFnO6BuUJ3Jv+6mwls6DkKpIWOYqTJWtr2/fzg3IDVK5SnvYdOB1HE/1l0DGH7RZx6D+ITcyT2VmZmXhdxR8KkpZ6E4g84mQs9f3pbKWcufj/slS4s8KBirPmRbyF0sa1AROTLE4OOFWwGzKPK6SgueTFsIx1UnBCxvqr0gByLoppOpXm7c29PDrh28dWRjeBJKenQUpeLduBxAtKB8dRqCkzBkmp4MYCLtFzDiqTGAmJLh+vNcIACSshWNP5CZFgV8BCzpFIabr+Xnyia32zC5GYG6ya2QB2McMFvzDN9caMXtr4ePhpfuF4XesXXv0ua/qiEhtNlok4kt445FkKHlxnv+b0jvdWt/rquOM5UiiJfqj1VQPNoTGscmS9Tu8GkOrE0ydXl728fA9fkAHcYqsLDw5ibwgk8Fceb94OLIaSyqGHkRlOXMydc9hOLSl4y7PiSe+ZBda+H7enrNKIAkKRFr7Zj6M3x9KrnEL8dcF7fDR1Ibe98uyh60KaaT6anZIKMAfV9UyqFK+LXg8R1nEbHpt5YvJbuzuvWA1y//yqzeTSuYj+jHUS1U1+Golpn9lAcgC9xW4qKH5DRuU1t06tVcY0dyzzGUPXrsaU2ni51VjBRp1f2VfrXVn1LzLXu4J1hYlr4W3Y96VmC/ipHOTefUHAW70z5XQAmRv8i6IzG/IglYtkvBVdrHoxYZjl3RR+GxtTtLJdF9KdkopO5MynOSiiVLVMQFg9T4TuBFLzAJn9qDOGpgKjdixbULjlrJ8WNJLnHEN4QwLBfHfFB2fSMiRgpu4aoL4x/CgxsxALF0UUTxxfzaWfIcwe+l6b+T8r/lO37hHoSnAwQC4vhYCKuu04r2yRu8iyDoIqgOYYj7Oz0GX5JbaHezRhLbzyXfrMCve4mtHjecNI+FxbU9d7hWO3wf9oGfVEZEaSxICC7W+zaoELV7v25g+wMKJQKhavoNw3gt7jTIYl3IMi5+lrYxFJXJgzZtNFR/KgRbNTFxJwAt0exWbq+ArsO6xuz604cld6qbRbTVSPMjgaIbUOXRqUIcfNdYq0qENdcVl0F6KoYCHL0xSb/5KX4mMxqSZTX6scmxnY5tLU15G99Zh4TJXguL4K1nsf6Ox76RTDGO5Mr7dTOWVlBhGHI0eSGmzf43e7YLV4AHQXtJlBNL4ithOpfgNNUcpX3MWt2QxWYEuY48DZ9PiY2xvjG6OyBOQXRCYOsBb2FQKQTfJpNLJwHDojAqOe9rhjtq0VF7k7WP9y3P1nnBDFUPpWWKZxuxidVZe+9JUiJ8tgwFIjUJarGb1/iLaokbrywBmaoYMzPB6bcefldLSmJNARW9UDHnOLWqKdInjqrwJJUuR9h4q9pUqiwoYQeczbkl3PiGzIbnoiwBCaJcyT0cjuSpStor7plyN4UYub7cKFZnb9LvDpJ8UxzpaEtTtxxo+wVum576H3woEeSPMWkq3jzC44s6OIq5/zMUVPY7Xxj8uuyAH99DGaztIC3vGbT7w5iCZc4hn6QRgK02Yte1WxqwkKHZd5u7n6Vk5pPCWOUPgWDzrafT9ypqfBXAp4Yb0VBk/soKV/tHUyMRgj8tTVecedwqx+/Obd1lmZ3llbFiHqEbpuXWaFdLa1GPWCb9+hHGLNiFd8sBOqJNNBQ5WMNWCJsrsYfbHma/wFyr4GbM7IQWD/QeVfaQnLoiqyWu0K+I2IE63W1HyQmHzGrlpEHQS0q6qrOrCoFz1dQFI0rBPUEz0e4aK3+vfb26CCPfu7JNIN/Vpy9RvmN9jpy76Rf+6XlcO2RX5GIQjUiwAXzs02fpvKrRIruNk5TWulM4sIcqe7dFtciy2mIsZrPWFYC+wERFASvB8sqGssX3j4rgBpOMOSHG/9wGHcy9TfXDiS9x2aT1vMWiXCh4uxMfsYTSUO/EXiMkCe6zy8p3Jj/Ngd1dDKqmABGgwna6TzM0C50twqSnVhiFCG3ZK9Cpgus++Qbuly7yYp7f14FEn9bl8SIcpwxwzg692JDSXntLc8gGqmiL2qZrbBVXM64qPoSOfOxbag1NYsIvna7EIgj0awJpW6/ONWnjbgqROFYFec9Ky5MWaOp6Qj5Dq2tXqWadCxoeIP2x69J5LVjYv3WY2FoQOhHbGvyx9ZcTTBQbGHVx7W9rrsowVoidMROvB1abWoGNNOA/FPmSSP/U/2XzIHC8M1tAhI9h+MHOIanay7PfkxP6WSc2XmOC6UpAK/lKmFwJQIsmClp+38VZ/DJdG/INaKV6GrK5KAT4RVSttgjYzIBKJjlcKd9kpOllnOtcnnLjOzEkxJWLFMZV3edplSqbp1kCHHJYhevxp16ZhyWOv+3dJzhnhFQJEp9NqrW/hHLC3BFpNE4wjhgtEY5MoWCOsvQiCBxU8xLGgGNXAGgB4zdTl07+Pp5kQzShWXSIz2BPXAEDSy7LkRXATCJCJSwog4G/JGfTB53TyB2xWk05uTw4G6DBxwMLygXurqWKUdw1JALFqj8PcQ2PtQprQs6PRE82oCiKEdhHqOZptxMIZx3Mu/h6ho6GrJA2geVb/wmHX13EE46wrHS+wInH2F6dEqljdebMepMICjzvRuhZnUJ+ogefDmLC3x8NIbW5QhCdr/0olDoQsbSvIhXAoson0DDesgNVNeLl9SlZg6SACU9JryMrbUCV5mcboUU1ADWq9GOOPvpQLljhjY2kkSJInxs67vkUUyX51vOyvyletyF0Fcr/54Ul++/J2FssrYWiQojkKC6caeFlgY1do8nUg+a5ZIqnD2BwWvphz35zVSgRzRW4K/OtFgbdkSBHRA9oVlDgsgI/7IevM+UnhIXWP4u63DblBfpNaJOFah3S8oNXZMFNOc3u6ArHRkppAs4RVr/l+SZ7qSFfc3d7reESHK0C91fEe/8WL5uFyqVH9IHuCSr5v3vSlFy8KGGb+/WMEMHCMjGxfFyb81Z2IJAiMXuX1+NMG8a5ty5Sb4E42XVE52LAZFPzSA1e6uzg7xCUczdaGJeHyU4I0RQ+8FWdQFqwyp69PC5klQeUxTY+0zQlWeITBzwDx1hIXD1QBNgVNJjKrUaqSZeK3uIEQbfZtcdgkVVDwLQzuFdPQPZRNYnkTnc0tUSS5i2dmlSRYfnMKBIXsTRn5XwJdCIyV1FyXZz+DoFFTUY+/yMAPPnJwmoKqByGwEBL6idjIbYcdTtRCjMNTMdcCFmTHVcoDhQ8yS+jNRs3bgShGyM2qKMkvMpIRaM3cawvs+Ma9bg+JP5/hWeT9Mq5kD8/OSpkrpBoUNdwDU6Y8gwXF+w8QvO3lRt3hMOKkEF1SRVkBscx+7LXEsPT2s/aDwY/CBwjjINhkVUxdK7PAlIOjjEdHcKtfbMSQMmdzyadLsAX2iEmMYCCK6RpkVvlChkYQdlWah4bDuHlPK4E7pkp/spqgt//oWIEtVutT/CVLnJLPFE8huYa91CSJIfBFyasGV7E/t2GCXt/D5xZnfifpYG6jKHTgrO0h6lSsOCc4bptKNmKe5dwmnsjkysM8nB3GWt7oY7zPK/3wBue++9a9M6cw6hLFa88ar6f0XB5vQCFg0yijx1JZ8KNMYIZQ2SE7NaojAO/2JIhRo6GgM0ZcrhHjD8oAzecZxeW60ISubC2VloqSSle9Ui6QE43yw6vngnUJNcFn1I4pR93RJl3AwT5sYGg0hp9Fh+vYp38VgS8QyGmipIOEbHVCIqjWo6+mNcfxifqJxu5NjAUmDiT55gcDUQEi7g3kuKr72yxOPkUaQJadzz9IRodeM+pGaU/dXinzEV/qSn3FBomEjpUmpRFnMSXpLEY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25506" y="1195038"/>
            <a:ext cx="8229600" cy="508616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8115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5" name="Rectangle 4"/>
          <p:cNvSpPr/>
          <p:nvPr/>
        </p:nvSpPr>
        <p:spPr>
          <a:xfrm>
            <a:off x="948498" y="1676400"/>
            <a:ext cx="2099501" cy="748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earn</a:t>
            </a:r>
          </a:p>
        </p:txBody>
      </p:sp>
      <p:sp>
        <p:nvSpPr>
          <p:cNvPr id="6" name="Rectangle 5"/>
          <p:cNvSpPr/>
          <p:nvPr/>
        </p:nvSpPr>
        <p:spPr>
          <a:xfrm>
            <a:off x="3539298" y="1676400"/>
            <a:ext cx="2099501" cy="748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sk</a:t>
            </a:r>
          </a:p>
        </p:txBody>
      </p:sp>
      <p:sp>
        <p:nvSpPr>
          <p:cNvPr id="7" name="Rectangle 6"/>
          <p:cNvSpPr/>
          <p:nvPr/>
        </p:nvSpPr>
        <p:spPr>
          <a:xfrm>
            <a:off x="6130098" y="1676400"/>
            <a:ext cx="2099501" cy="748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nect</a:t>
            </a:r>
          </a:p>
        </p:txBody>
      </p:sp>
      <p:pic>
        <p:nvPicPr>
          <p:cNvPr id="8" name="Picture 7" descr="Twitter graphic.PNG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651135" y="3596346"/>
            <a:ext cx="885863" cy="834756"/>
          </a:xfrm>
          <a:prstGeom prst="rect">
            <a:avLst/>
          </a:prstGeom>
        </p:spPr>
      </p:pic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960501" y="2968558"/>
            <a:ext cx="2167699" cy="294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marL="0" indent="0" eaLnBrk="1" hangingPunct="1">
              <a:buClr>
                <a:srgbClr val="760000"/>
              </a:buClr>
              <a:buSzPct val="65000"/>
              <a:buNone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Training videos</a:t>
            </a:r>
          </a:p>
          <a:p>
            <a:pPr marL="0" indent="0" eaLnBrk="1" hangingPunct="1">
              <a:buClr>
                <a:srgbClr val="760000"/>
              </a:buClr>
              <a:buSzPct val="65000"/>
              <a:buNone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Chart Gallery</a:t>
            </a:r>
          </a:p>
          <a:p>
            <a:pPr marL="0" indent="0" eaLnBrk="1" hangingPunct="1">
              <a:buClr>
                <a:srgbClr val="760000"/>
              </a:buClr>
              <a:buSzPct val="65000"/>
              <a:buNone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Presentations </a:t>
            </a:r>
          </a:p>
          <a:p>
            <a:pPr marL="0" indent="0" eaLnBrk="1" hangingPunct="1">
              <a:buClr>
                <a:srgbClr val="760000"/>
              </a:buClr>
              <a:buSzPct val="65000"/>
              <a:buNone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Chart Selection Toolkit</a:t>
            </a:r>
          </a:p>
          <a:p>
            <a:pPr marL="0" indent="0" eaLnBrk="1" hangingPunct="1">
              <a:buClr>
                <a:srgbClr val="760000"/>
              </a:buClr>
              <a:buSzPct val="65000"/>
              <a:buNone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Strategy Consultant’s Toolkit</a:t>
            </a:r>
          </a:p>
          <a:p>
            <a:pPr marL="0" indent="0" eaLnBrk="1" hangingPunct="1">
              <a:buClr>
                <a:srgbClr val="760000"/>
              </a:buClr>
              <a:buSzPct val="65000"/>
              <a:buNone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Chart of the Week</a:t>
            </a:r>
          </a:p>
          <a:p>
            <a:pPr marL="0" indent="0" eaLnBrk="1" hangingPunct="1">
              <a:buClr>
                <a:srgbClr val="760000"/>
              </a:buClr>
              <a:buSzPct val="65000"/>
              <a:buNone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Build Your CQ Blog</a:t>
            </a:r>
          </a:p>
          <a:p>
            <a:pPr marL="0" indent="0" eaLnBrk="1" hangingPunct="1">
              <a:buClr>
                <a:srgbClr val="760000"/>
              </a:buClr>
              <a:buSzPct val="65000"/>
              <a:buNone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FAQs</a:t>
            </a:r>
          </a:p>
          <a:p>
            <a:pPr marL="0" indent="0" eaLnBrk="1" hangingPunct="1">
              <a:buClr>
                <a:srgbClr val="760000"/>
              </a:buClr>
              <a:buSzPct val="65000"/>
              <a:buNone/>
            </a:pPr>
            <a:r>
              <a:rPr lang="en-US" altLang="en-US" sz="1600" dirty="0">
                <a:solidFill>
                  <a:schemeClr val="tx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Palettes</a:t>
            </a:r>
          </a:p>
        </p:txBody>
      </p:sp>
      <p:sp>
        <p:nvSpPr>
          <p:cNvPr id="10" name="Text Box 4"/>
          <p:cNvSpPr txBox="1">
            <a:spLocks noChangeArrowheads="1"/>
          </p:cNvSpPr>
          <p:nvPr/>
        </p:nvSpPr>
        <p:spPr bwMode="auto">
          <a:xfrm>
            <a:off x="3464312" y="2602304"/>
            <a:ext cx="2514600" cy="1883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marL="0" indent="0" eaLnBrk="1" hangingPunct="1">
              <a:buClr>
                <a:srgbClr val="760000"/>
              </a:buClr>
              <a:buSzPct val="65000"/>
              <a:buNone/>
            </a:pPr>
            <a:r>
              <a:rPr lang="en-US" altLang="en-US" sz="1800" dirty="0">
                <a:solidFill>
                  <a:schemeClr val="tx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Mekko Graphics Toolbar</a:t>
            </a:r>
          </a:p>
          <a:p>
            <a:pPr marL="231775" lvl="1" indent="0" eaLnBrk="1" hangingPunct="1">
              <a:buClr>
                <a:srgbClr val="760000"/>
              </a:buClr>
              <a:buSzPct val="65000"/>
              <a:buNone/>
            </a:pPr>
            <a:r>
              <a:rPr lang="en-US" altLang="en-US" sz="1800" dirty="0">
                <a:solidFill>
                  <a:schemeClr val="tx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  </a:t>
            </a:r>
          </a:p>
          <a:p>
            <a:pPr marL="231775" lvl="1" indent="0" eaLnBrk="1" hangingPunct="1">
              <a:buClr>
                <a:srgbClr val="760000"/>
              </a:buClr>
              <a:buSzPct val="65000"/>
              <a:buNone/>
            </a:pPr>
            <a:endParaRPr lang="en-US" alt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>
              <a:buClr>
                <a:srgbClr val="760000"/>
              </a:buClr>
              <a:buSzPct val="65000"/>
              <a:buNone/>
            </a:pPr>
            <a:endParaRPr lang="en-US" alt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1" indent="0" eaLnBrk="1" hangingPunct="1">
              <a:buClr>
                <a:srgbClr val="760000"/>
              </a:buClr>
              <a:buSzPct val="65000"/>
              <a:buNone/>
            </a:pPr>
            <a:endParaRPr lang="en-US" alt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38" lvl="1" indent="0" eaLnBrk="1" hangingPunct="1">
              <a:buClr>
                <a:srgbClr val="760000"/>
              </a:buClr>
              <a:buSzPct val="65000"/>
              <a:buNone/>
            </a:pPr>
            <a:endParaRPr lang="en-US" alt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 descr="LinkedIn graphic.PNG">
            <a:hlinkClick r:id="rId5"/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672869" y="2620697"/>
            <a:ext cx="870931" cy="88946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832269" y="2602468"/>
            <a:ext cx="2263760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dirty="0">
                <a:ln w="18415" cmpd="sng">
                  <a:noFill/>
                  <a:prstDash val="solid"/>
                </a:ln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Century Gothic" panose="020B0502020202020204" pitchFamily="34" charset="0"/>
              </a:rPr>
              <a:t>MekkoGraphics.com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9000" y="3158428"/>
            <a:ext cx="1524000" cy="31578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31867" y="3539428"/>
            <a:ext cx="1571429" cy="118095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8361" y="4550190"/>
            <a:ext cx="631410" cy="631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413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3" val="a585b766-9eb5-46cc-95d5-c5f7ad2446fc"/>
  <p:tag name="MEKKOEXCEL4" val="635997033944984778"/>
  <p:tag name="MEKKOEXCEL6" val="False"/>
  <p:tag name="MEKKOEXCEL7" val="False"/>
  <p:tag name="MEKKOEXCEL8" val="False"/>
  <p:tag name="MEKKOXML1" val="4HooU0THZk28POP9trq+pbTvvzd/gcV8t56cq85kb3NDTsUhojRA0EsgEHHMH7oYP1SYpn09ysXVivguJdhTvfyVMsBLTGvcX7WPTor/CmXaNv5MOTLr3zs9jTduarTUJxj5lK9t5LYQSxiAEkvQ0YFcykJe19MrSxslyHq+8+WzF2cDK4mdk4R56pG19+XP4ifBkgkBb0BK041XNKnTJOYBNgBshUCL1jmO83UOSFasugEKX3Tcayg4TOxrZQ7qI9aATkEewN2WHLnGqPkHGnQa0QFyTmyiws8nvWJm6uKKVvZ53UNAgwPssvS6XyV0SFQ3XI36BdTLcLCuMjJy5RVlDIH89T4jXaDkHq/oH3LDPrhHl9SCrEP7TwVA2wdJfQEoCTyURwdg9GAPaS/9D2wzcMTLgEmI5eztBvkpt5/UbaoPRdsZxWSvtm5vm/znQ8YhoQ6hfQKW56QthMMVCVRTRbCPuCrNYscplx/WBhOu4VS0i3QKUWHz6i7gxbj9EQcD3G+em4IZp7nIc/KkH/s4Dbz6k00iDPeGvlFtt+6gJQKbCVMQJ+EyqhxNSat5/7jovObFIfWUTPSJRCCoMRPwA9trrPDV7ZoY7glfV0M+4rqE/elK2CtsmNvGnJMxbWPBvSJKwvuqNJ+cOgH1YJTLHpmL3s83vsFEBSNe7GxaqHR793nM8sMy3x6lQwZfOP0c+6z02CCn9i5iTl3Iiw0eST18YZXWUe9gNLd5p8U8vtOhREm8WZugIGidRTPDqDwoFBgkVXVHM8CffGrml/zQXxPwmLmwHWFKDgT0ddCtjrGT0Vppakv5A/sEZqMetJlVBneO8Os+6zkT4ODCMxwPQZNo0gCLBvokfNLKGKItmxhAFpX4lyPWyLZC+1iUL5pQOJJXwXzJATNnnmm8YI0sZmDYQ9RCM5BwY+/3H6ch4wT1GjmkIo5FrFQyZ5CVUQ2Cw+NshjiUZcCw2dCDL5REOlER07XCL2UA/Cb0MxN6f4HcKNrzHXBa8D5eE0KJZ3tHcfj4Ej8RTKVUS2HZPjrQk8nPRvnyCLvrxAmXZHUzT+NPKjM1vQvX9q7vZtHRSfu5rJOUVhhNgCRKRfSoWnL8vWlZOtSUL80V3ughEsP5Y1V+dnx0v/I3Mhs3KCf6swSpXd8U+R4CrrFZ5v7QlI/tD/dMtAYfu6GzgBRypeJFsaJ/7GGD0JNYbgxyRrSVmny79Oj5YvQHzc6QzpIHdAUsfLjCbsr9B44jXWgbiV8hsEIn1nIolAInpyVJgJoVpdKoKF8zteTNZ2y50CEgD0vndLpOGqWi88Ble9T2vpHs5ZR5Cmau+4iJKHs3jbdQNyuXQin1CcjiYFhu7tkR53577KxrqEfsr9WlaZqQ8t6yLlVSQ4BWEb2nvt3ZnEpu9W0pbCU+62zvfgUf7B2zTSb1MN+XQlZh3Jp/XONHjqEySVtkl6a7Pd/fQa/O7P2EG9zNRmG1hvd+D3y4Cl9CDOamKh/vJ4MtZn/KDRnoQsJyJ/iFUXjWAF72a05PdQY0ZqM5fHuHWfb2tSPzLyvHLoGrJOqPS3/1aWSbyKQVd3Sp1L0Cnn0CXSh4Rse5xYJWL2vzFaKKeqijkak8IqhFajwTgJgL01rwMwDnVrqV4nqR8y7kBP1GjrErO20S3CUSkcsYfLj5FD1uGBlSiu9MOyHJVdmgOwnxwaR1xq2/lfbHK95ooN1V5qWU8BLN3VP5fIFQVNBjCqiqvVUUmKyRTDC1BsCZXN7ywZGwWf6OSBtgrroNEyeMoj42LtykHaGMXppoEzwQJEz45w0Qw9902rDBx9KaiaPIXzyd0jmfoX3AfuKTotRzGk0gZtgAGyVxNSECaYNObYUEMHVo0AJRWzIccSCVLCcx1howD91R15oD5I4X2d4HSCq0keoBc9qmxBxzfegHVnEuCtTqWqp3OcyZqje2J0YeycqoqdgzuPUJSc9In/vRDRCclwpJQwXgUFoPW9EeEA1Z895ENBep6ScsTbJoTaLi3Rdjfgcv9iBi+UtpBdZbYxBC3Q4zrtfHZn/AOsnpQW3I7o+gcUcsEUg2+SYVtLwUdLsHlacWcMFsw/+SDcDK5e68A8U8BYPtvRcpVjmlSvqo67E5pMBKuAZRNgM6gHP3C8fPzaNrIYmPx3eDuivVHh5//Es4CsU3rZFFFppoD44o9C14uzEZ4lZ/5mbuhI17oN+YIIVA/1+EZ82N9+NkTXLoL3zxgmb7yCGwP3zAw59QfcemEQOuPAaQEYyxikGqX+W9kdc3wvH0KgT7cYAezh5T1ayx0PADweDXA8+5Fp7m87ih11+opWXKZ8MPmd1wgYbOsxox0eL+UvbZ6lUbeJv6PexcNql9NADQ1sy4ToOBjmdHJKd8zZEbwodMBiV3FO5YgasSLkWw7GJZaxsnMGbL9MOOyF62vWNlxLzeoqhxD9lfKU8WXyyeVd49PTSe3LUNwmWzK6F+7hjkwKk6hH9n6ZJtMvN8xw3YhAuImLspHxK15raoffSO6q74Lg3taLoNjhMIOFUQcLZc2TwXMMRZY6zDNOonmVo0AHVEn4zb9yLqxBBGBQPydGo59zAd8pLejiQ6ZnIS1qXCjTjqf4vIpFp1Ss2zCwbEfjldVKeYEPDyOXgr7MHKbhZVtBO6jUHdkeHPfqlFtvY9qQG1/el0vvpK26a+OydzDovtuWCaQ826pl9pXo273hBgdJh/RB9PfEa7EGH8q0FtFZFIc7kKeZdzNvwIv2+LZdjgw1YkpsJszqAZ2b0hn27oeCBpOkieDxpoJT+f+ebzgcAtTtWhBzOFY7Gix0JAL2daU2j/4e6sr6HmNa/rXyGXlrApUgNjKWMDzzttHud2MMNYF/iWxkPzlCNTd4D2XBo4HoEFRXTsJq5SehyPDTYGKhWnFffRVoiA/7pCUhiGqu3fU/VwaNH34DL3wC3SvkuNbMuEXhx6l2VLNhIFh3epCZFC369tQZrfe+g6KaWemJvUJF+ogx/7Uzm1MWDWbu+dYuv4hr8YiwR+JlJIKsGLg4dQyAIWL7XEMTH07NMjWGYnb9WMh9KtPOB8AXMwj91F1Y6qS6ic8OokuGDkaoYLmfEzAtbYCPvHYfzgzJEjCH/sov8zQZ87GlJnptALCMze3H/6zQDbt1IGOOZOsIRC+Sn5PbfzaSp2kdM9hC+O6ckIhywsEHVTxZft0OZxhsRMs3zFMBy801tqw5zxKqxjoS4/ztFLdr/VAJ92GIH7KKjebVFZgMIT/fOCscXwrsLlfWE9Y54xZR21zFkRMQc4t+srwjsXCj9NQlbfA/8747uJS/3T73OSvUlLZjmd9S+QhlGUFK0IlzJlnlGqsQjT3kkoTMdLYtlgvc81xPrcRqPLgysXVq5J1aDErJ9m/taw5pw0CGRLBP29BrhPXO6tvvWStsX7MqjM+qmKqR2M7VmCD4Vqc9Xydr0mrYAXqFdbzxz4ZoK1VY6+JrBZqrMw3Iv3B77diLQu9EAPeh3VNUcIMWyu2lwmrEMXHtJU3mOJaLwvvgoKi70y4EfTN8mUVgIDwWjKCEY4l23zt7fU0D7dNcFJDBp73h+Ahp/i6rub3bFX5wpHHJdHNxX+8NhJ+RqCjPx7z/JUOhbGS00cv0E6iLys/q7RdTReJWAR5uQRo92W17KoqwepiaXBzaPCJv7WKnoaaxbjpgDnJBNelCWLJdlN5fn6mbDd87L0FZq7MyUJgpaSiZJNPhQCRqGMmqrrI31wYyTPLl3unwn0TjmexdNzeKl9e7KW7yBfgPC0RsoFkZyaGVpZeAjRqrJbu2QSKaMbqxDLjBaqWa4Ge3b2NFzohAuboYW24ba+FiUNy3BaF6xnSgNDr+8a4InnrZVEZ8LUsFln3ojAmawtincnWB5GYArPZEbd4yC4wj04mIGg6PEM+Sv/9KtV6diuRPHLsH80h8HHbs567fcOBY24Jl/1V+8QQyvinFdxE4JQouzVkVG/9QbANOcaVCTpp42nF+o1Xyh/jFCDBJPH4EfWvxhaootWSreQc/4wZ+GaAFBgcU87uVhZhxsdhUQ9pDs0DkwlO/59WJzHIkvuzvVX/XyY7TcShMTNrItgG4FQHztR/pJJvhsRTs0vYzW+DFFVb/Q7iKgg2fANYkAFIdLz0W5AXJD12cAIMsjZOlyIBFdZZQdcRuX2OupF2xM6t6KWY9MXd483NS6EFO0UmZ3Ihfy3UkuzGZWpZlH8YHewty29rp/xXEJjvk6qgcH+olRfoaLf+IWQubZ6lA4p/DTYEe6IqXHCjYouDFEqU4HqsJf/CDrq7VtWZUGO7veDocpRpq0jsg5wzZ3iYbHDEkC3UwWoqXEQmkMaaZv6nSdhWMvWzKbncc3z1qUarsFN9b8+H7R5/MfAYwfgHRC6xuGIGP1CmcMDMjW1SS/j0RRyU4zENH2q6ujR1+vKs7FE92VSZ/vbrBeQjaI2cLvVnxhYEQNwJeEgJSA9XZtH6RR4u04Ty6G2xYs7xm3/m8CAVtr4RVxGHnT3DqkDYwuPHgJzC1NQWyyYafhR5HgA8JEoFdTRIvIFLL5txBYiY3DRdTnk+RPP21EgCeNgFZ1wO1K7sQhfQRLhqIVIM2IeAcra/d5pgY7Ze8q4mSC2ESSmUA8PI+8xUnK2y7xWV7GLTlQStHRTjqVOfMvfOexT+sFIfu+31HVk8vhsITm7USKNnlNOZiFUDNNSJxKjuH0dZV5SnG2Rk75h1OUv9TQLIfOd1e5N7TVry6I4m0ScNv08u/Pg4fuX5uwbngdlTLgs8IUVpGGWUnB3pczWp3gS5tjrgAPbIascPJcDJSZ6zvMEl+HKT77iEwt/eRdrSFqjfRN5VPx00W4IZ3dd55E1taZmvbex9NGdOJwh3pkcw26pQQ+ZkvnuPQCXpwH1tUYxYdYAL7hhATd3cuRp3mVS2UgUgRHwht/TRd5m4sv+la6+HdSe2mIy/235ZeKJrGPud+v3EO5sQwu3Yrwh0NssQ6JzB5PKssAp0CRNHDmXEjfY5WZHFYl8DmsjQTmHxFR3alhYJTLd4gIvuN1qNeCjIe3ExMJFcFPJXsoWl5OOwGCak9jOf+qSBaHocEqaVFiGEsFhzOA1QIPnJ66paAnpuBzjgn6hkAaPilLX+pEkznk5QzRf2C81xpDrs/zwk97l8p63QjTziMtCExz7R0rLrLRpb0EaueWKX8KGYOYSj73RqwT6XoxR04yZo7PODVB8Jz0AHOHNzBEstg8lahCO/Gnul3/Kx7DCaCUgRejYQEBhBflusAxz2mG+jP1unXWnZIQNKMF0AxeNcBIvNoEDZJ7QRDvwFNzzWgJ4gcwShmdgv65yMrliMuZMV/HnZIb6Rxi17qkrWNSRJFaGMkk4yMiUvJiZu089fAfFaAncBw4AzqGcB2XCGDGPolCHtHK7xkrN8p00Ar6k4Tb8ariNMJbh51/5yl7TGBbbV6eB2+s/u/ULdUY7cg7kVbog6PiQb41L0dlKk575fZ3PeefGZiQaApcRRUUur/0d9vxwKlZS8WDlz3xACbtuCCi56ZYi5A5wVum6qxCeI2lnV33RKWxjzqpuan4sfEUptXzlTQK8fX818sdA9H8czz6ujLmzP+jXA2ARVeJCjWs/u1LH/a2ww+iPReU/WuNmw1/MUYSasYrmdMSXXRsstok/ciCbR7MVfkMqKDDFi/Kpm1e81FEGB6dUizxSPchHPNdE7YZMAztmkIUQ/BrvBgtGYrZWF3p1U7r1ylDgFBxLNqGElS5Q5bGCkpLvaiEPnhB/4+2dXMtF1K1G9FYj8zRmgqJNa7Bj2EyoAzFZXXTPWKMW4K/IF++kLXblC9TdKn7XIJJp/GsybgdGFohHt5Q/3oZun+vJxEssKBX3rf1R9xaHfdvPdH7SiaYkV2piHsL0Jx5RZlbxgNkCaD74GpLAd+w29iOqdGlpWmt9J6Iwr9a7kGdrucPcxSd98jGPSpEsWMd6wQ8puRu+gIeZJ+D22EMUSFfX2LG4S/H6uhnP3Mib9VKDL+hnmOrqGeNamklBeW5odBba8r3/0y978iGY9a5raU6d75Ozhzouv/fDbjAzFLazCpzdmZZZxZd+ToE4uuRUo5fJcmwDvb532mQs3iW+LWNfSJBQg8dIdSkX0CYrS9hD9RAsGs+PqNtOqgrCbHKLRIk6I41oEOZw/j2tGrT8RiQmFNCwgiyUUkGjOhY1OCqXURQa6XUH4rm03cyNj7fTtFQ0RJsVFQk1t9yAHEQws2o1WzaX0+QskJparcCOfFXxQgFYilx0fwFAqCehCM8SW1dMWE/N1+XiBgLftgawsd14ouIXvcu1QgWol51aMKcHx0O7Cr2PuBuGcu80On95EdGWKUfscQQC5J94/z8o32ow6InMWdwrwpohpa1xg4PdDSvUA+Q7VQcySyDXO3/QFUXcOiClTkUlEz9vjI1pJKLW3Q1ZQVNhQP5V+NwbCuOcxuUoNIYuwWi23eWxChB7PVBTpWlpBhId3cjHOWxZZE6Q6IoGd9p54G1YCdfNRfpM/DwUZJ8Wrm+WdM/JNyxk+ViVC8axRcdJvQUzxUFktzZugVk/pa3+5GR8ih4BUAPfSzfb69LNVTPPEk+29A1pIiD7rbtJr+tckCcCl2zMo91VC9GKhXDiqE4eeSwYrz7IegykSwGkSYpegYpGfjMamksaVOYcuK8k4mOgM3CcnaINkRa+v144Ns9WEOHKyR+hgAYLUhK9JLsxrXQe5t/1qQJCW3OCElJdsf+DDviuOjABdXCrpe7YQ6/2I7sGmTQTJlYDFjeAS6Q1kRMMyIfqGXHlfCvgm91Jc2svw+oJE09OckNre2MhA9gy3/J9BQPLO28xY5egegBsHyxw0J3B+CXoKDGEtNFJeHbdp25fwhK9ClUnCAsI8u4ZHAfxRZBwp7L8hrpLiA+Qs0iDtxQLpSAG/c66l4Q2NUXdytQXCBxJEtqcwpNvRqVxdAcSWPcbh/Plj0GbNdXgztAG/AiY25T2KB+6kJHEPC7BK7C0Adq2HeREz4HzctBlgxAIAQCLv/uPa7rf+LG23i8JNos9hqIyxjce/CGEEGCOVuobVat80eLyjEVcw0IiD/xBQAt4ym4luu3l7dzqk48q47NCDGLdzfIU79dsI7Lha93IP3/IhfzVNSt39Yrh39c0Z+MILHSPtWc2afjBwbJS/4N3ANNKE0KGdFUSnJL7ZwuASa9kYMmpQIfMc0BtSCzZOWl4ImzF9NKXH0iX4z5/UC/8SJZE4rfJU47nPIelXYdXMse8cf2nYS8GJfE3iAoottUlbvjik+7LcoenXxPpAmJd9rKEIMFN7e2EXzC/q9cwLiJVnnT5FV8LSbIUZvGoaneARgUt5s4pUWbFHAQNfCdiAt3oQkrMJZjRfx0u9UDKihwJf9bWHdbnBjP5ZkTZ6u6kdkH4e11BwEYg0yNO5H+LNW8z7vunrGQORDuJUjAEX5EOVq8jVKYWBDWlLme4x3Z2UK+GKNvm43qV9AwLd7GJRcJO146gjryBidkFK7RAkzuLiUIuIsjbdNuWnf5zJXtv1P790pVSageNHhBLqasNVuWKNmv3pteZLHS5O6tmGuN9weu4ir7R8yvsYMvmLGNzJXrH+BZhWjaHYT9fo29R9iMfkiTxyY3NM1+id2NQeU/vvUXt5OhwzF5dHcXMBbuYVovOjRS7tIgujA9iobLMy0/IgOAnRj1SHT3gtbsbB4kix0DPFDtAqwtZJXfpWIITT3yx/qp56N+TR1l44uKjiftHWVD7qHyz4ztgeBvUtXSu5Kr7GvvKIQx1dgiTHJzYqK1miLZjDfWDlQwhP50bZgHPhJ7kxolLZu2EUzoIbLxGolQxG9YG+EfwQDiH5cyXzAGnaFCIv77PkxIRrfLsVHNyVG/5A1CLx53gTq6FI1sX89/OouahcG9LwIoiwk5R79UqEo4Wtcg57nwTVOiLLlAnefC0+aqa3a0PQ275NnBXF5Q/ZHHd0Y4lamAocxuBkmAwRdudR51dQwiBHPWb31AcfUaKudQVJkAZgZ2MV2ZrEqkZFTOH2ksvapde896tuS1Q1LLgEEpL8LjX3vYobmZYntL5touLIP6eGUsm4cLNf88xZvblBzSy+4dEUimZTxnYYskBnEq07od6ELTizabC6/JhAVBt0JeASKk2FmqY+A415YOBnZuVyXzsqmx39ssK7+gnFRlwh8IP42qHyHXeNHaAiq0s2ZYkXx+SuY9Tntw4kvSuWqKSp1Y1G3eDwFzj4Q0LCb801L/XGlgnaVrWSiyvlKGIctZrn7Zt04VLqYB2UXTbKwuvjtM8WictMuEwW2AaUO+bP1M7cDq9lbFi/cMLCFo0rJzSV+WY6FV/VkLixnZ1RjALvb21ElpY0x+AohmMCegZFzAGGsZGX5AijFIEL/3HraDy0GidAyCA1N8DjNGvDb6+hUHQJp536D08fSvRZ3RCOSFij/kHEHPacWP5lh4ImiFBa+bAaIt71ZJIJrd1aD+zYkTkHv5rRoMBXCqjeQ8pI1FG5Au8KaKf4Ob7T2D1Cp+2EmwMIenVdPCeCzlrG2SzXfST+k3uhYOI6uonqFcrczS8AkrMdLni+v/Rd5xVAVIFaDTU7QqxHiP7dtJA9nz77odBfO/qW49cOHHiluV3pwLobNwxTnUu1QpbY25mrbbVSbt49cI0z103HRGAtSVaBxPDZqY75CrxdUeTzKgLYs1M9kPc2lvS58QzFl/qY2zvs6dBgezED8bKFAR/JF35pL15Ozb3Str2olRAxqoIt4OfCU8ekoGMOk5ojJZACfnEAjGSbFa9LDTrsuGf4heKyMj8NrLsyfoaZ//zaHi73jV6fAKYiiORKx8hmvg4w+p0LlP1NGntn8PiDUy+JWobfMEOfuTqsa3qN+xezIJ9WHVAqoBVsL0LSv83sB2eRKf62vltRJ67qzMAnpTmB+OwicN2nH5LTZ/n+VXxkUQhb+NTsxlRNrCI+uTRbHRAOIzGEjItgqy3DquMdxqL5kqlh7ovHYHqS86S62r+R2aBViPRMzUbp5oHAJQy39hYQUaVWxs2VVBR0OFzMoOOGuVu+CEVZyOcFnrzZII+Nz0QGQ50kmmcJ21bRqmsBtkE442Jl8i4PoNCwMLIkgtJO0PRH7q0jIpIfpiDhb4vrUavxFNXTNEoDM9aTGJC33KDnXvNlsS3WUTJaMbvVPANiwfYpMSV4W4sb3UJ7fdYYYHwwekBjkNA1saGYf2aPMkCzYjH6IyfeFny9DCgBhMPlcuhSe1KAdF377fWX5n/AGRWvN0AwakweDc7l/bLiEB1hAYHwlVvKe0r+6Iouu/zrtCuzolO+6SHLQAGBbhezetDXcmgfm6KNe01w5JR9ktBX9JWq22sO+F23evqST79L08owXflZ6uhN4RnIlVoltaBqZlA0zK7SlBY58rBuJlfhLfNhRqQ/EdyzdPaM/lLlo3IXxsD0JaU1nO59kbtnyjr0KW65jB65DEpVJaXmYfn9AWYYkegw02kWcDeqrestOhTyTTccmS6kassp4bL6XQf4AjaTaZL/B2VvMuf5Qx4LBBCsGmQn39pNyonkeLM6R7Bv6Sdbix3rZQnDimD9EAjZUXY+We5bdA6rMnk827w2gKwyondRyKY+VdWVCbCpVYtNn9CKr6VN6ODW0hWuaRIQcYyJCjaF8Hh1WOhC5gNYfFEJDsUrtdWpd6J4I9pBzyiXnUHKSzUDRIKa+62Wmd6FFvd54nKRQbFrVMyOwXNu6FvwQrhTgTkBwgDbK9nw39ZLpc0HePQSnp7OT9/hWKnS/Q9HoXawyIm565VxzZGr5QfsHq49C71XMV3fFeVaqTpXzKneeNmGyuBg5/V8Sf/zR/hikd9cIDYDnklubG6EP5FpYiJe4doFRNDqKBs7fhs5opJgwvdLZ1q5sd4MdnJ0n5Y4srXkh6luWdaAjFlAb8t4PsOMWsNW22yMtaAAdY7eVsKidNl2OT6iwAT7treA8ZLYe4z3lsxQ8idtQxiAkI/tzjXcjcvLgrtpI5DTEpKCDV7uneL3/zgwJPz0eawCdhJuQMv58yMdAQG6epatrgNGNmj3ZMbQsmho/hNWlB0ni6BWKa3gPcAIEQ/LzD3f2xBl1WqyX1S7oO2AOPH0JWuyEhswJ7aoR2uuGwlzx1pSDNUx0WmEQMNyXyx0rvB8EoRZMpj2tLh7gbaDKidpJF/hg7NTrPtZNsROz9NVtkqoRdwg1FRJXuXR39rJk8glwzHYF/EB1fRTPw3Y+Oiz74c+BfXoVMXVincRYlEhynRhYgFYR/eu8tPOwblLnPJGKiXaxWXrK7YkfLXqW/GWJyqSk9ap3hwdC6sEO5tDel0i8b5QHtUWiGIz0mvbefnVSLm8MZpOIBOVsMYhoWTah6Btj2c/IiahT97KGNr9iTDmtn9hao1bvPzniux+Zh8zEemejlUxjp/jnm4sfvq20KcYlCgy7L+NfJlEniDNhGQ7OrLK4SUvnBfwszl/tGBtrii20nGns2lfqucMNSfmjSbXEJSCY7euWpF9dUOw/ZQcEaMei/SQjQs6fohQ01VoL8GjXcCu+HZoBHAVSgAFOkUo28CDblLqdFjxL+k2z9LQ16mW6B2diMpQMXx64S63DEUYEHeRJSrG9TY80Dv1UAfmL4BOFkTa6RBGaYiljKbS3XhmPfmFNx0QAut5yLIJ6cAdBkAnhHBBoN2kCFwNkGyDDHmo0GMNmDTrq9W8R1GLTr3xEI5Y43201zYayv7ty0GpgrCufW4of5mUQEcoOCtr3EqJbzzFrnkCsmCgkg9ta3NrsuKcCge43Rm49+3He9rDeHdtg/p9DI76uTFUQCV5GHUOuTv+3CC7U0Ro6SmjeWybF/r1+HFKcSkROc04sU4HFuTRXgbzZeH2K+MkfjRuLOglo7B39cOHVGm/JkQD0loFzFJHJmCLl+H8Ezzk4RjMjDlRErUGsa8++zCDoDmhb6j3mWpCNBLBl0ks7XgBHCHfUJ/YGHxUXZzG+ng+oKIW0V//1e+fdV6wwJSflp1cTnG7A7s/QHDIg89a9crF4aR9QOye2ai+PkoMzM9zz9jhtqpNMfhynLvWlWx46wDseq0jqOImSQTjvV3TB7e4wwTW0m4EPtEql9svGX9Dcb/2Z/oqFYkF2ohgi7YQRMmfnupERobCIBkoRi4Lytaad6D2tjZpzOmJgltAJV8cggza3q9g6EeH9xVH0iaiJgEDWq37nNWkqZheFAddJkHGl0jQYE9G0u9akS4SFiUOcuBFaRa0Ep5nt5UShUmgkO2rp6b50G4fEaAnBErV8rXYuG8l98Ms21hovlLmhpFx/FrKE6Fx4kWaB7zx3FmuyREqZAAVP6JoZMCT9KK3+ER8+qBi6KBvmUggb4M3Hk8enV4IOUfTdh/H9MYpmpqBrS5MARBMDndmrA0fTsCoPM9n7s1kQyrS1mQ0C/9l3vCs00A922viL49o/jzjJb555rtqNPTFsosBDD+KuEx42rgtbsD1jGkI9lHLbbrDiFoTqD2G4sOj4+O9EPK+Q2X2oxI+6ZK1Ia94/hzXy3+MGlJ6VvK9ZxHc5kHNunmBMciviSTeFmli4MShsiOESLmoh4tRFRuuhHggPmwMrLWB1yDxX5piSsbdxCxUFVRWkJGhA3T/QlRSlEw6i68sQ8YEVmIdLtVa0CGvW2XPnU3abavojS9Z+HY0RRM7k5FjWczSVp7Ta+TaRkl/5U9Z2dRR+eUKmtXE8BZCwJInE2i2JwJP6LJq+THYmkJgjLwyjwl0OhF/LNixd1+X0K/H4Fi/dbMKNivXjbe9dUEpB3GzVUA83fuyHWAJcDY274NzZmTTNZRvWU5HVRxptdxhMQvdlpwBAlkW0kY6bT/SOXpIVrLwrDrgfh53ReryY8tXY5TM3jvjZe92pBUYMW7JaEVCWHefFx6BGHx1c8IPJQPgAhAELX0IX7wl1KerYHFXze8G+oWDQZwO9bQ3okl4ak3IotlImdbQDYLdwyW5leRDGx9a2nXr1MukfWpyoLXUbuCix/TeSjf+NPSYb+/pSDGr4l598scUqAcQ2kvQGuK8TBrWSE12gPCkkyJ16ZoVrH8VIOsTWKq27Pk7whELrU+kCx3noxypZJ8jU9NBl6DXgPadnaW/1aNpMJhgBCOFlw3DPNe6mNbBu75RiZv0/XBRvqnvkol72sRx3bYvjvr/vZCex+FcpmmFtUYLwL+I9VQKKqoLuYj33PfUxkOSI/2gVtkis06k4sVUb9/BYGpNxalWEmYTGJy2I4a7vLnBuenaGzqxxeA3/gcF0+oucfiYTJE36h40fgFFtoRRSyXtwUrjetMGedkkG7mbfM0mmyi7jbDrv0oSjrbDsujSf2xOur9Jx2D0ovZfMnZFtKPwMnS9ixkgRAh7lJQoTysJAuS2kJT+WFPdBAteveMmiHcDDVVPIPyHZ60K6jk4W+FUFhXEQ8ipaWIOf4roDBxiKSJgVQuiQ9FTKwEqsJYWSF32crWf+xZrdGkVBVdVH59VAw+HUWRozMZ9JyxtOEQ4srKLhydr47RSwE5ndoO2VRXcVgcYKiLAVcfgwxjuQgrspJxmESGsC+2UR/Wj3CZFTNWUw3ttKJm05qH7enEfqsmDXldUCBTeR1gO/gi5b8IbIvAexu84QMp6Ph/ceDrb/7QV0a9jdf+qQqlSrfwO1+vm112a8iM3e/0FhpRkRSCJPfet4PjxxEJPx12u3GCz5141WEEh/xZK/ZytX5C0IPR+r+a8YqontLvp5GCd0GjGSVsA5+sm01VFse9j1A7mZS7UzX6cSNGNNnwOnFYHC1HST9bCox1mQvCBK+5AuvOAVczbNM0rznyKkBbLh3jNah3hyhswH2rEGb9Z9px4YN5fjhc6xQksV3mGniNgyWisynPPlBZci2noUAo/IaNLBspgUoWRlYY3dDGNd8/mO62mKMD/pxtkBOf3N34wL3Tq25nHKrr0MRyvZMXUWCFCpjsH5/USAn8cqYCfoVWgPGQhzwRXBgt/kR4COo26nIHOjCrg8qacEfhXU92GA6ZBR+//T20umhBwIU7JKMwrjAv4ccIeyYJKf/qBi1RLHg9BQ7BEXSAOE5EgQl9DXyP/pqyOmYbx2IDXS610KQD+WuZIaKvPfjwP32I8IR54vZlsNyACP+JWjUVV38MnpOLPcbA6RfsGDII9bBQ/A0kUysHZ7eMeY4mGPcBKpnOptaoya+2NvG2DYeO7e0RrMQKEMOb852IREj4ZvJrpjDnHu8PkiXiStd/SFFG3af59CO4nUvTCJez7tJaik8+hPEKGyS2oq/1kdFRrlX/lfWE1cZkxDwHy4NaljBT2OhjStgQdxTYalF0ATK74zOdSS4pYHFCFUVmBbiHDYfAKK2M5YUpunL6kwGF8lu+fcvPqF7I74Wv669ymIeaBDGatveUc+9Nlkc8Lv2XJujaRRDvXYOHK5tlscitXO7K7KHvkjkuTDJrfifNSR1+MdHBhM8cI54mZxBkjc71kbiBnxI6yF6nrKSGuvn4jdrSmu+r5wxg/mxtz+hI7Rg9uXXR+Z13TD1eWCpIdTX5F+yJQyZ3tvoliwt6eySR2A/cyIQGI/LpvvL1a4IMTpa2awOem+g8Renvkhy2qrMFrLMPrMAMVjctCjE/QE0YniomSfGcefcC7/Nk5IOpwGxmI/QJzDJOlBWV8z91U7fJuBM7XmkoRkntKGaBj4tJPIPxV6AIkP41XrOzoycO+dhZLtVbow0aOc+GCCxUqilIhyz7iCktNKt+9wJGLJjwhlI8OgV6aoxZrpPc+xjSWd5o7GWVvTghNZAotPu1z6z33e3TXtVowZrtj6btgtVDPOI5SJbcHtk3WyRdTTyxVujKJVIgWXMIKna8ga8o4gDScA5qwy8eKFTBkWdUHpDXY3h4SPPAOh1kH19JTbR1VYnGl7AutyD/6OtpLst00V4V98jTiKxhMyvbXB9/EuM1WjcWwxvd1h5bcyfj+NbhuWLAyPqzjTIm22SzlIocLnlISCBO52PWPyCgpM56yRPpNsI46uwy5RaXCrj67KlgFlS00Yd2AXSMkxtEkDvRcNmcg+hhGLIgGbiYwKjcmDCK1cFBA9/ynAFSgG99SEpSzcEEomPO87ZsfoiJZ6yM0lodNgB9ynnl/N/etCVpNzNfNaklNlT2P4S7I/RJ/TqiIF2iZYazYJYqBC2Jta7zsZKPG5y1taWHqzNW4EGU4sSjAA1zpenjNmW3Sj7zZmKMT1lXXXsf4FZh8xsVKOLkXAntBp1+XzG700QibIolkDJSxh6/yvArgOVIsnPBW08tHftHaBosJulZ25PwaqdEvBy97UIv9osx+1igu0oco1Y3tOTFVy547NIFp/33gd98dJU/3v+iKbCR4VYqLqVXlNthYZ/8ycLY7MLakBeLRT8CtTTd+1nWCAFPHzF7696ZVkXRajTGnG2+xkBSSsUpIpfZPHRScrVBS5xvszlQfnSyFRWxMEUUQkieGUphGPoHgaGNxjeQY9cTd2jGjtpswfDOSbLMCeh0g7nNA2tBzugfpVwDKoKowbI9Mlj4NYRmII3gTEgmuTYE1MO/OjzU5tEj4PoHuje2sUopuNHo6+ABEV4HyzRj/52+6kYHp8ISI9gWp5+WEpW16UsTOEKgLAPjkpiA2hrrIT+TOJ3f7ZQT8GSdfy+GZRkb+blPciPYFOAsJ+ZdIcT7vJ04KQ6XVz63QsiUyr1a2N8frzWOYSlMlJp7JRynzg2BcA9Ryt0OLO95ciAL1wgt+ImkTlHcOLz1shYZQqeRa2J7yzE3n1VpV7VsrbAS35jQSeb3DgAEQPutua2RGXKxW1zao4/fHKaIj4hKNsoPQxLVAcGMMeXKyBtP5w71qVAmekdkE6aomxy6jpU5Vb3svabvdTnPyOUO2qZqW/VbpMyoL94i7jVPCuYeGC8V5VXDIVNQwbEdwyUTKBrmxXh8DGO7sYUhUO9owTiU8hbce7BKvgyClSOO9z7IkJX26kBZzny58/wf7CvnP4XZhE8OR/3OllDIYPf58QxFPDqcjXFMJBwOHd4TuWCr87ij8nFzFwaqRHeCgXuAmg2zjDsX7uMhzs1g4kgtchgUFC1keqb2fmUKofAKQIxooRWn28T5mF/ULipcf5s5ufyoOV5UpvqBdrQB40XGLgLmfoFoKLO6ZYx6eg1XJnRY8iIj57/supnEbuJA9l7K1HVvNNXtl9KgVFnoKGRaJMJHfSJE44lACt0+eLR1qwl+Yc0OVqLUbOGlBwhiVT4x/Rf7goqMgmPvVU6fvoue/qmHksn5L3QNAPUpHWFTyWGvGdx1mRihGhItRTf/gGJW5EU630cCy/txMZ6hwrNK/dfk4EkT22mY8qY6Cq5kKvjhwH6HJMjR33qQkaEmfEquWgxgOmPrgQClJNDBI4KzTgvyxvrSU7awo+M+eUehHCfYIrYnyKvesYbHOSYeApFTNwnC6qZiH5gdUF1T0I39gddEfSqi9uhxNirVgPSnvwa/eaHJ0cubGG80qNC0AoRdjsuz44+ACnqo6uiAwf+MHmAcdb56IGTsQ8GNau9f0ebx3GKFjCCVo+LFBl70C6rRzTKDySH8OEgWf1VA0rHOf9v1Tm2Q0rktJqAlJl1HubExxiFJs91fil5NPznggWLUtH64ImoFvAgydtsj8CHpXF0+xZVib/dRukz02yWHZEzO8JxNFdcZJjxPr3LjDhnK1eGQoiVYAoqqFdzIwzJZOmB9/R2tHU+/VcsgpiaMxb+f0/Dvsc6QslwpT7w06/ByzivFan077eBbQzCYfferCeNj17vTGtnqJ3M3ZDfbgm4i9HII1+WKSby84SXI/kHP0nkKembYKTTZMkVJWo3bJK4pVdOy8W0cGptXRp/MgO+v8lkIpUxh7v0Xy5IKv1ApFu9q5Yq7RLEG7kD5fOXct4SEG60vxZq0OV1exHtkM2QsqfbocGRpq0gJ3WbSsBoqekBsSe01oli0ndBedILaLzzh5erLjbbxv5TlUWYy4KSKmsYLgbpQ4iUOUmGQbnUp9goWaCF2VqBC5L1sYyPqQkSA8jY/7sju7rAkerPhdCF3hw2/eZwt6K1JysIA6LysoJZ9tD8YdKWYMp08TFVHdvsE6DP3Gs+BxynSDqJ/qrQGgP3/mTx+Ff7ScYY7kGKZqEG/cptaZmEqxbNjWwlRmU/MLH55366mUQvaHd/aOsQM+oPUG9kkLrqhkmx0ZVMhYTdCIYk4bfyfAhyfydQqV00snkWT4vlywUKpWyAYXzJ4mjEU49E/4oPf2mfdAQh7iC8cGG+JwOIx9SgrqPS8dMUam3Q55nsZF0I2bsnrGHFox6xFzvIiYwYpAfLGRNIcVUwQH34w84AbTcW2x3Lt3SBKfLvTNLn45RnrahDJ5i9bMcSHneqyTY69cJnp926buv5AiaVqSSL6evMyOPwM6TOQG3l21UywAD/5Oi0pGCgM7FgX6KY8YcYwSEHE3VuolnDm8WpTUQ7ImeXpwY6gQloGgboumnyvjCrs+PSkUO0XV0tZ6wnTLTrtHlPiLS5F8dLbqjnQLryEwNzsiEsGPGMweQLWpC4TwFKvEnYx7x+B4v5etHGclU3NlD+saW/Zm9CJ5fuzM80BPLFhOLdcu50/zingjfwnNNAI+Yn+Eqpkm04mY3tn5slbYzSZBFzk+3hlp+VScQFBHx+WN/b6lyAv+sa7CEocCs9rLeOK8UozQXBNdvzhIqcKIw/nV/DBFs0jsS6MCIJKetffxpCHbpZjlGm4wExCRcJXCRbn2qnVcz6QuvCflWQSFFSkuBV+wkwxIHmbeN0wJNLosk03xl77AwRNrUiwxI1KVm9cwtJ0HzafiwduDT5fsUml5Uzld73SqNkH/9dVqQ19EdP01dPEhAbU9UcvPc1TaQuPsM/pZZO1EhpbrMJvQvxzCIrE/s9aTNx3B16R2l4KYpYn13+c5GWwJZGZ9Ol7gR178pDSuW2pNKMSGQy+lDncc4X2r5kHd2W0ZWAKls43Nk0JCbkiw/mk2Oq9XW5UI+24S4oBdrFCxC/yzkfSKjbNzQNCrKJ5Gc9ERPl3Rvba8ASYAKDIRCMFEbPZ6QJOqeS2mhMYe9NVPzZMXI1q7vEghp1wzyVAx5Ut6C0MmMQW/nnEM3w+K6BiUzPHzng04gRwCJ4ArLNbPimXoN7nTeXJ/rv9H/ZxgZDOVsdDKSV4mH09xg7KV5QuukbzGB8m8D8QVxbvV3kGNZSCD/q10IMUEv4vBNljrCHbSvcjFdjbgwV0UIvJYTIkFKqtPBN+nFP5ys1QdHSOgfkGo6LpbSPs/Hkxp/GLDuCT3suf5iUlL8Rn6hSKrH5D2MZll5v90NeONBV3KuLA09TCbuOHMj7U0foq5iwC/G6Tu02/WKxTZ0lr/9uBm5irKXk5SR2OfSb9hWcmoxUkVgjlTZgMFcewJpskRKr8tqA8nocBBFvQLlzsaw1Vgnt2CfUbajk17app2q8/tzGD3VLYRNELerXU3kOxYCgQM5b/qhQ5OzB7DdICTGRPvtsvYbONFSVTJLfdt5BnlD6qGO9bNOZeZ414ueuK57c3vrB76+oWBBvWJMzviw921af3bbhsY/YGiEAONxoXmq00ilv7vB887l26wOLpYzwvV8PQ9wNBJIHsiAWcfsDWvB6sEZadH7C+dof1eQBAgR2ES4PiIVQg8bfsVfPnErneH7w+EtMJZfzpxrjIwDjzU6hxaoKiajmY9HBp3Z+iZtOdkTfyKJ65W4PN7V+jOf+zAmOBoKq3DRf2XPe9CPWtuBgo+txPz/4id+EOKNZ3549eZCbeHval+BCfVcnxrJwtOz5zETpjq7qYRYBsDb1vp1UNelvKa2mcq1g+orMvceRgrhK4xubAC7IawU28D69aW1TCaKEm+H10166kerrPss1N2T+O7ofSiydBLU7kNgDcuTzjdML7TrhjPDH5xGG5GSUYl9rieEQx0/TWmxY9/D7iUZ0nKkg3gpG/kSpVteS6AnZqD52VQne5gt5tKyAIMZXduh3M/mitIGHedzZ5leTuh21AHvIiTX+SQnBTF+76NDVAbrtygf4Hd6mYocRI+WZSbPTBwiw6ATzowxEHMdgI7OxAs1wTrm1BYofMSHklRn2ClkIsgWl8FqsCjkDrpc6oNkT10f4xWN8PFYD0WjZUEBpRr7QKmVayxns8u1alGWPJxtb68IxPcvPUkeni+f8qTtFXFdRQa0LBigqrOGBsV16MWyUY5QpCL4dRHGSCGXK6rFWddfBx/y3lvMJkzGUWUI1KaWpx2szJOt7UrIEW2E77OLmN7MsBj4w05QNO7ZFoNnhbBekGwMCkhTL3vZUGeZ9DHHc9imbML9KkhN57b0CylKBpqOgZ+dKlvl7cJjzVqVMcVEI/RbYQ8RTW4b7Hhx9ewUZNFGouetFeOsSzhfUyBDYWEEER0qkNfYRaao6sSXRjE1GhZMtYvVwSYkX31yC/spad5jd+PC/TCcco8C2MuLQXdXf4ugI9m/ksWWKnmtCQ7ebIo52Mpv8GFJAWS+afWaYqNLmXaPD7De3EC79xC/GXMUrsmglce7EewduviGew31HWvWkD6oFDjzXkvVdXt2rgMM/lZ/Ns8YlpsgFEfdizyo6TIRM1z2o7NjCFwxpxNSDyRfwg42BpIbi1qLC5U8Kll/+RbvO5rn5HmhEBss+kJhGben3NP7Dh/e7ZjuuFeaUvUPbE0kbByRJebQQszycq6/Vyr9TfkfTvQG/kucgn5dAL8T/JmE1KdogBZQuW9fTIGwbIDPa+VdukaU6ZRA2Ytw9MNI9pZdcu1snaGpyk36hmUyFYYdYMI/awf+9VHqtIDu+gwVUU2CnBgCJWwHSaxhKbYTPbVulaRM9RGNMC+3C3z/lQzQ/sYGMlR5XdCCcJhM3CrMyhKg0R2/Y3MoL5F18gtVIpYf1srmDk4yxc5SB0+lSdjfxO+BhW5b2vW55Pp5276KH4A0vUbuXPDdxONPpAhozZelkE3RC9T1x3hDi2O7LWaKMEHIIt6vF6sAYazFBlAcjtwQdXoXDjy3Es8oGHVLGjr55dd3K+HThjcr0/l6pI0xIlLgxGBdaUOZik+lqxafJXK8o26TSVDbBcsAAwJ91vF9HczLQyn8eo6hEqfHcX5W8DYRv/8F7MyBtk1l4rubEaGPXQUReieAAz/OmSmJ6fGi7LfPdRGjekYMnZmaKUNFIQP5R8ikukgBakeKiMMm6pTSn5k4PPnXlzLhHF4PovUpHF3xAyyGz22acKXW6mCW8iuFkxk8NR4U2hXmT62MsPVmyJv0DNHhiNl3Shg9FgecNQJDOZQOjPJ2I9/1KVV9Zd9jrNDo/n6urc2AIwTomCGxXPMIxUFDasm//sWfReBh/CqBZDEiQl+s2X5V27jswU/eaOMbg1TM74SkjZAECnOMXU7X6mDP1q9ge35LyZJxKwKI9l0m1/K356kRClhvY1xcbaw4jp7ZLaz/k/fo5B+6My1wshToU64WKQCzUcGMxU0ZzhgFUiqiQZXl2eViikB9ZxJQFurDr/LfTGjxFZ0NLoP3bU7K7wyZNcPOPdBk/C7zzvn9X0NJsLSBZk/KWteqkslz8lwsvphS2MQCsTIxS+ykAe6i1i+kJ1QpmrsHmRJ2T+4RKrxLrS7JqSySbNDUBPe6lmaflNaRtdbRuwTdLgKk7RoEMQ1tBW4+jyTqvlFs4Xqdb7Qax2GieCT+npSg2CDyIAI5teXwrfcZz1aBEQM2F76bNRpiL5D0331yep3slulE1zCD1ZkKl+rAKGdj9MnGKGxigAys1C4O8aK9nORyzuOuLvRm1nxKCpsqg5r1U+6ooi9N8bnjsOyJWI93HAEgbLJ80nb2x7zLanhx93p/rNi9GnKxuGFyZzRFhpjMlgfdytCsXvoJyWrozpRJmC5tnEFcti3HCFO7Qrwsme7wKZ3WJCXbNEoPL/Kr4IY1T9ee+SIr1bPHYLFZuq5HCutNmFddz9MwMadEBLwG6SHQGo6JZAmB5DbOFkHiuCZpupif5XRbXDVsMdBjlYLol83fQCE/tdHVEDyXTEcAEjK8pzgUB9P1EKN7UNRGVH2zNY6IkfUEIvd9qO79jC5ME5vWk0lXQUcQ9a9jot5/jK7ehlvkthDmj0AJu1/RctpaJaucBlGIsCCOvNMO357dZxCDfIvnodpBoUbV5rByolKdVGgPKXbC7nGw2h/0tNl6em+Xz59qAGYGjdgt2+bAEfSLNz2aXV+GDdVIgEN+k3+HWaUoNmjKuZABXck0Bk7JAFCvs5/e2xzvpfeC4PBLHZg4+QlMFiPmrgMSEdd2CKDPA6Lg5hrBd7dxucMSM+IkR2D60h8yjze8otL1zocUPfMjpFHNWHXgAyMSmdtsx3MR6Rb0xdupgEXU6ta0hcAw/CBmeTSTus3gvfJHFLKRqNWnr2LSW6zauEiHPjT7stABlhK8V11J6ViVycw8nULfx5671JjB67fZlXpK8Agvf4/Hr1A8zFTiPOH0sEsHlUg3c/hvk9OawYDoIIiGWe7GGb3El27XB3381d0YcRviaq1Z7qxHRd9lOGt/7DL39ZanpcVBTaUvxkPnu39VbskDyujaEekm8RrCmDUhDs2otI/LWKUxYQb8PVpKvydyTTuIf0Z4pnz6XpVvNHn62zH/nLsUyqlamQ+bzzalzOPVVHx04s4LjJDWV12Zrb8yTMbL8yg8e8WP/RVEBoETi9EmqyKWllQfq45LfhG5nyLicL7jtNn7GHpwh6+x+gw9ZdhWmqkYYbW+1WYM4JvmOaaQjGAPRImeZZWAOk6S+VWKxHV6sU4uj1m0Wce5IszAgIkBa+O4V+6idxA5UsXZERJark0G4LPlaGqLHLSyi0iG+PJpOgA775yoUy6IBTdzchk4EcvKBZSH/6H5IzKaw0FjbKEqQ4w25l/Got9lllu2t+U9UnDoidEznr8sw8xHaWR+ya9L4/nN6X9trs6CHvTlBfcJhlSNf1SIJdy1d1LnEOsREK1cyptYZVR6UqYfVZ6pV8+LugKHIZ+AQstrKL7dnJ9cMo+tzieXnb3nojyeImq5KSKo95qERO04UnRDowefqFM8YTf1bGChdl6NL8pfi+IYzvfENMt6SylCZdEyeqR4JW3svlWNf//jAz7uAlCaZdSO5+uedMH/IUM2Ylegpy6AynCmMAzCrFgah0hxeKKWaQiv2Z+JHMTPVYmlf6BhHnavSsBHAGSvj1mTTIic1TUjMDbbRMOQ5OnZ8RaXNMzfiEoeQubBZFF/ULo40LGOFqzicHqL578S80GfBh95pE2AdXgC7wEAgG4fxXzi3VDzZ14RcK9AAozHKG/arVhKxYjcJ/B0TVz6FCpoX4PoHtXUa5JB/CVD7DtA2c6F9hqudTb/+0TpT2odmzSAXFq7W4JUq7eD8CrHLLT4BYxAXZ59btH31nduRssWJphflVusNc7IIUHlcf6siCmsULXng0GpXNh7OCHzbIiRjaUQ8i52PLxOiyPPAe/ZVcDBeA8z+73n0lGq4nuFVcR0B1cRUaLi6ThixPeDsDSwEp1Kfkfz9XfoadTQXlnnShyGjdVuaeu8CeDie9/RHAVUSkt/Ciuf+FnmTN7KWpVVNOwg3Q0rxaRs0Bi+OC1JxrFrbTZzyKOEkTud/22hZSVg6NdgWT9BwFwwznxS3KCwvieLiT7xYAOQ9qTK1Pn1TduQuPiiRi1ZjPJnvq/M5cseEBDXdhB8SEBCGhF0/3As1CfVP4w9fQoMf3zHzuONxh9QTwLj+fNl6UWP6fuM2w9qfeFqPBoIW+vwKg4JwZB6gJa73y3bb9C192PZKwaf+VJmbcGcp8FAdB1jhqumMRmToRP4C+lKrg5dB7KJmBZe2ebW5lEw1ig21L0rQYM96jQLc69WUyL/u2UxfaEuBbRNUW8Ed5zSZgKc0tIInKX7gzR26Omx1SkeUK5jAAVCCObJ9fJ4s3mGw5IpzYdLVK+/+7TBB+lio5tXE8gkGHshSkT4wl3TqqwoSQQwZygj399cIYN+GoIrxkHAJQeCNSz++KQ3yep5UbeJrrhQ7087jItwXeC9kKgKPPM8ygfpzONab9X3ioNlkgNq15FjEF6yeDDNh08Q9VFFPrDWTyLiYu19iHEpOVJcuRpYRfAUz/dk+P/hRVeiy3NsNZo8j22OgWp7nkNrQwBmRMMiOA8CBvBO7SXX4vILhhnTEHQ0qOpJTDdssz4GbCR7mL0CcsQB/pw4a4VwzVeUKhJ084rkckyFLSPMAV07vgOWGvfpO5OGJtNipf+BRyY1YNdLsZ3nDEu5HtIyoKDUJCvjoEqwU1uCZJwYdk3PO4U944jSVp5rx9ERkIg/ebTKWEPjxGol68c2UYA9+91I7WSLFGiGbqIgyTz/UYm3JZDmY7ppklX/UQaCUp0pNn+rrKrI0ZXjFlwiARWl0WW+yNYcFZFTCX7xucgPlsCILGmBLvLz+GaSxufny4rByeLfi3QJfN5n0RmqU2lh/FzgLeO6aepHeGU3QzAc3kwUE/DE2E6LMpg2WuGqhTBJqbUBV3bQepqNBc81JQgPqYww58WGui9JdnH3MsPcKX0h795UoACCe6J173WOZEYuxKYRjEIi7PwX/muAm40ZawZX2NhS6V9DjaTS/PlOeKThMHz6l0D7NcR2v1hlXXKkCut1C/GcP0Zw1feooUgDmlhexFzoLNrDQdLABsk0g3C7ZK/HB8FxhGTA2TG6xbVmJEqi8qooKYYjgQ6pAU0M1MdaWT4WwgFwaw5bVVqDmUwXBFpTsWuRy6kSQ+MaG66Lwafs9GhV7J3zDs/ohNlYASy/gsD6aA9kmLbFYxH9hFexHAOtIMT35U2lOAC6MBxLnWubRNgGdHZtCLsqjTOdUZMRm2iLWdacb1KgUKf4vzsISaeOE5ip9oh8H2FWOsoyHr+HSz/i+cANlxPDjvjGnsVQB+VzmCBdhVD2XAuI4KXyiMUA6vOeTAnYYEGNumk/5u17jvi8lxIzxdnHsLLMYBP0MquC/7QwJsgxhgDYo1etFjHphpy2EEGfDQF1QyHUBpf3j9T+gEV/ed5Arhl/dwtGLtFBUguNmulRKTMXZ+UdNkCC5HZqPP21b1wlsjMLbQsWM2kmJg6MBdxbadl9W3AHeR14Fz14mhFccZ4+CjMEr8dpMbatse84KGxiA+csWcQ85QTjYLWgHdNbwkTMc5uFrKbz+GcdrSbeTHafdIaqvYml/Of8yy1gvR5ileJC8AVB/mO4la2P/E9Mnuq7RpilaHWW6UlGcf0kzBZpCZzFt32Rq2vdAXyJGSnkMnaniG/3bAciyxFdSUgk5MACX4Eg5A61NwooVnCu5T43otlY48AphC7HhG8vwJCdq8EmrtXwjQ1lJJhhLHLce5Ofl9x7W+bjpcwjo4ohSf2Wm3cCFFh0OQRTkDdf/9W5ux0HO87FPXP1d6h2Mfnrs8Bh/AnXVSEDs1yZ0f2Ngfee+B87Sy4Z3BK6Lqz9IwWWeeAkGPllVaYuz13uN9dOgZvx9/49DzTmEm/5En+/U547r4Z8UyhLjeT62eCqnoE3qva0Tq15rSxrkAWf6KqC/j+8LFz6+06UpHioBrEfRK9oo25Q0Pu5ZWr/OS1irQaXT10BApu7EAcFE7blJsUUGkMTPbrxa56vf+2usnjfV/hrSrPmCeYbmm0feehws+SXjlEnjxR7ZSFNZj+lbn+eaZvNBzlXYILy8pTX/Z3+mQZv6NK1QdmGLsFlGtMc0ZBckChImZyhVwqbXQiqiL6N/LAVHxUviBGgN4aEBhstVv2RTDlq+D6Pt3WMk3YW+235K6cZUN2kKcjAIwBljfdjHiO6cAGrV40c7fmCCj1fos3xQNfQg/ptvcGzGtDa9jebXZr1N8+aXDtu0Rv0zyElHWLI/4LSMQMWLTx+ulBSIOhNpZXCpnRHYy2JaHCHQ9X8izWHORsx3Gt/O6hNIR/pSe2+8Nc/nBmRY9em0Un5jDovCluVoxyvjrFj4FZJ/pxpperUAds9+XTBjLZrMcqSDgiZXq1EFp1lj4H0lR7tFDgZgzREsMlhgfhU/D2f2nSMgpqdfom+E/XveMwVfoWuEkhJhhxj8E8Qt0CY7vKJDBNtEpN08A/S3jdoT1Zx7tuXdmYkx6Kcrd7XPay2++p8pNRVk4Au58DHwoRl22BWKfNafsBwBJtnW3qL/Z9h5XNFGY2kab7ZNzFUa9bDEBxEY3Ek9gLWxrLzMkCGkGLhvI+NRkfzJL9qkkI7k4jnTvdlT/EGJu6CQziRuBbdghuECPRoFSqbV12TTCnuKsmRQMEHruovstxTMic5QeDzMrOB6SXyYNTKima64Pu2Js6plnm9hI/PM9QhrSOa+xiaqaQCJiYXziwdR8Ve+0QejkLg8caIZadXdKm2uKn1j2wjh5LxLNLWhHDjRJsq++fOQUz8qMJh/xEm3NfiFSc8fycEnI/4SLnYnHnnRdqzOQMN2Gv9qIYLZO1O3QRNDOjCJ4e51EPLbkU90Ld02WGrj1ZBabmpYg+dqKR/yZfUJrxIqvrPAnprn7aC+hzNKfq49ybj01JGjPoPDYHnMt7mVA0YHqx7aCkC6h+9vAngPVdx7zaP+2DhwjaSNiML4qsah8d9ethvFl+2UlnvbB9TOBY4NLfNquqdQ1W8PhmZh6yvP/+A1xFRY7ZD5ytYa+/cZSH6/CuS/yklOuu/jZjZ9fpaS6jNPBAarbM2BzIiTJ13j0T+PpbXamL6gV67gn8waVyrj+39LXhFiWdxoM5HwAChgd8TlNIuJ+kSU9EAvTRjBJcykJdn7qacP38N7dkFE0Pun/mgs0xCFv4O8YqJTPWU+SH+cc0JjgGKP9b4otUD6iEtz0iBkB4/Jrl+AZPgefYiBaE/wVwrxxsxjegUeFc/84oKv7hbUARnsN5VLS/rRBETaGfoF7oWFqUVd3WRtss2xtKa1uW3rOV3u15CgPB0M4dJXDMNkfmoGMqdkQMgwRNcpg7nvidJoUtPDsSdJ2AXqy6Mo190hLRpVY0TDh9jw72jlp/xQ6igUoNsATgw5PO5+pES/V6SAiDOBAZLFckyYd5eW9Ds1O9x/UezroMaN1FIq/gkQXFXNwEtpBwKcY0KBFus84R3obQFLgkPmwvKzK2gN6uHlUd8AfIEVMPNhCu0yz26WiqcitKWotsnpUqJCg6CkYJ8rKZDaWcDJK+Y4T1qbhmef74pRx+KwJ+QSKjAiXrMy4hl6QkyIrCIHcnT2eyoaiSvKKxzk9+Qg33fBD19OR5aBupeFaSv0W8B5Oeyn2Akg+yuzSI84gXI/6NpJ8XC1h0Q2rg2kWS80vezyC19P4QwSghOruXYC74cVn4fw8Kfjh7zVgN/JGY41knUPKhLKHHE4H5tWfV08x/2lG9rvFxHgJM8VXNU+21ph7WBPYMLJ/RmqGFKlu9CKIscvib8bGWluPjG9F1eskxGA5HY/9zl/DXN8qCzHnU9ZmK/Z1nv7XlCMrZ0+k0H8vcnaGJj9Canj3BC3J4kcByGGadGEFoAXOihqmI9rWllkwb3gcmRD+khIQA+t0FR4rxwWiHKEpNXqOWXUXzTfQ3vRojFtFJ9DgRkz/xIQo0C9mC01pvVuFhaBBvwRB+2ZbDo/9lZW0QI1p4F9nfysDZdKN0G6NIvaAv9pqk8DiICFvgBCoVcxUCbA655SQ2YqX2DYsjqyvXFcCTL+kC7Xxsw9jx9yGmbXcPTzSckmPUU2KVkBWiZp0Hs6gk/uv8di3AD1QlF/Jl7+TGKD4gOO3RiFUgfRinypRX1PKepDyy6JhHzIqRvt42nNO2W9Fbhk2wl4ybSCFdHncFLOJQTF8g34U4tHI1N9mXKKTtr4XuCcU8vkFwM5maivhxne/jqeyC1tPC8nPT901BMkG5byqZlRmhUP+tcNxIF2uoHIY3lj/9Z5EnOe1QDJTj65pNnkbwOue7HM6J5rXsFXBPLcgiMHeckk/5vKDJDoMX+ZOoGqRSp6/NJ9pj+o/CgXp6PIe4VWuvgcCR+Og3oTT8gV5emhlgut75lB4aqfEvdB1bwid3kPAp6uZSXB9dJcbYd20RVZSWncdN37YgaKPhw84miL3yxnpqb25Cfmz2xMd3pknmcpI0Av73MMfJcHRKmlI4pI972XTKuD+Ro2DIXAYkEDDnYyxTZey9qMWWjJ2hkt7oFN+zUnaMiM/o27KffkWymTLUfo/TilIjZIJbQfRrn7rW9O2TganJaZye5bwH5WNRqamtxpT5MbRH5FE1z/ft3+dc/fEzBeIVZprV3IojR8ZL6uXPjqk4Kj4QHAXlxtoeMLNpeOeL3FV1wGeKoxcU80f5tv8gWtUtnPa0XtE1WzVnw+ViOOR6gpI+cjdjLgntZ/qujRmeMlYyCG0hJzR9yBG3wcIDLlBh4zceqpqOSN5OpJuMHZ7W5XvhL0ZRwiRy3V+zkKKrzqydTxaJ3jdprhLOwGg3v1ge6rD2kvXSzRYEhC1dO6AUsAdiOU4qx1gduBhaVox2sORKaqFFByUnN9w0osfVrJltHLSGBAZoJWmSpy/MDWa9z47bG7bw9ODQSdLw6IjbymtanS5VvAqi/iV+L0L9gOn8qEI7reBgER3qKeGtkgDqXg4eizti07lwDPP06DU8P1ASzS7d+uKS4AbXcoh2ToHygxyqNa8IqLRyloZet7X7Mixk/9pImDex8+6w/mYSuFYzQivuZe1xyM6TFWrIRmE0MbTfjq7E29qaPbBomrfBP9gr16IxNljlTpbQqyEyuA4YJH+bCv82JCo+2te9WDBORvLUeIMR4LlIwVSVQfKZsblpa48xFIuy8Qht/xHC5CkmHbbw2VL4hivCPHTr4yVLHcSLxWrrZFKywM4y+aqedt2W+D/Lw85dBIffOZI5RcZ4DocFMxJ4f+PHlhXE3f/3EwRXCPnxbYD1IiWAhcgHR27nR1r3I4ykHyWtEF3fZBvAZLkUq/atSPQnIGCieaeGhOTXSOdMs50a6g9I+fOkczUruNKrkHUxHZehJgXGatP8cShWuTlv9xBY0Xd40vrxDzsAh98DP9/hI7ib7vFxcYG3yINm4wtU0RSTRS31hp1QhrF6bYTSP5AaJqUrRnmrzohrpEHOYOhEOCh7poHR6q7q+Cql4nFCHg45eDSQIzXopPZsA4Ii/TJx9bP4eSczvdvUEfIdSizzNoLHjeKTRlSQ6YdrhdH2yAKpSFaEPxA3LB1GKFmKxKcwUNcvnCHU6bYYWe1SwrroF3xbuRhvuYee+TklKsJ+PmwVlOjvESjxGjwZSfHgUi+I+ZDyrHckgJV6SJjjIwaT1GOwOcSuXsdVhekh/8mWpEHrfpWC/A1MK+agYFGUd8se6/2ebQwnqqd+TN0jajQXky4Kcb1fuzVzbj5qr2Sm+EqOC4wLcMZBJjZEN5u3G28tOO19ZO2T5kPPGtb4QqseZIiNdXVuEvqriK3pbIWnHrbwZIUAxKPplpgK5vM49MSsc5LabHxXjcAP+Vc+eGdKMowgqd+gt8ZVgUL0UFIZhqDotiUH49E3FX9GZMRetzGmQq9v61vkOhDp/d1ZJoppKReLC43RKpUWrppq08E/FUXksxG8bNZSIFHye+vPlgfVa44Tyw12slu5zVsXk6r5CoYICu84grTaVGP3u//23q4JaPtzBmstr+B34Y4UTYqvFvlhLKRn7VJ0laujZyFHdQgNBQurpMDJGm+kgYqzuZ81uoZVlc7+iMXKGCxcKi4agvPrOv2OdulC3ZF7jdbHR4Fym6x/RMmI94+pkawSuwwKoUVMkRVumuE6eyKBy9lOBTD/AS4iEAbBlpeSpl+GUm53UnBI60bLSQFn6PrgvUASHmdZf8IGWTcbjbFQJlkLdxW6/DB9wA7iJ6SUed4gKgUGJisQRXTz4uTK/tUK3Jfp6uCOq8hiY7B1fP+OnLfoeYBYiWkXWY7CHXKobjpUUKleZdiVZi6fMEfKR9yz3/FdYQgg6TMUkkk/CRw6UgAXCPN2kOX1Wr0mchLvEFV0fslCtrZ1oU6UKZesWf+yH5WKDSSMFos0/6+SgV/ywYHXEIBZIOABjxzp1EOmSRKVGGYBPvvsy28Xk6hchwmVkmBvw/xT+poUgTDvM4qQp0YkIHRdlMBdB4uyfPSXde2TMjnCkJgl/sXiqxugF2uNEeO/bYQtYHgHo0gWxWeq35NFpEURssV5D+/yljrObvUBi1p+gMqd2b/c5gxxv7UnXbpH66dsDeWZqs8o9A2hWlpPgdTiRklhYpjdlS1oZ6IQdeQMXu9aW2pqn7ne7flQOODbM00Y4yJ/TuTVT2jephMAZj8KYdlrTJzLkOHbzLlvTRpMI20JJ9dhcj690iqNhm44PLrPAH/bh5xcS2ugv4Yi/hnoRU7FnTbby9H7zGGEXmG7IEY7JXVy2E+Z/Oz9B33MGLymY2bAwpQ7fwqo1WMgygL6/IPSkL7JsC1cX9fZt4w3F5bRImRkiWkcf4fGHO+MsPptubm9TguBZyoG8gvX+c/plv3PqqplVmyewVgsMuoQh1ejSjgG9FnQgeWLVgZ58lM/QzadSYC3TgIokSy71HWD61cPrSreL4SGJ1mkVw4ZZzxmTN8+nphXA22OoeWJCMr+OERRJm0dMUKXGJ8b0VVkWGx+5hRadB1pH/8H8ZovlN9IiHsy3JaKPdf1hd2b8VUZllDYPEPE3biWfNzndabhbk+3hHwXCAcJTFm0kNUsmcM7gcs53rhUsfB23uXJrHCpNa6M7blK6OU1ieS7u/a6btFx6BAYB3D7K2WRYqSNHkRKqccAY58IKIX9wazUn1Leks7fPSm+XwVTMv+PzxntB1mYH4+IM3LYZNTmSAGc3w8z6rBvENPayS3/2ooVFa/7g1rFhQhTl5Xy2N+8l9GjUzOwPmYF9lzbRBd7nMW+ak47VWp6/Sn8HMgBDjU4oi0A7ZqzW7oAYYRsU8SL6tRD4D5qd/ki1xnYoNEtvZPPoZ6Q6URQvaTJ4GTmXnin9Ad1zWXzo4H/HJFLa+H3jKvDIPU/jxIv/CnGfqvAH6n9M8C5NZsycfw9RP8bSSeYQIxqKmoor4ETR4tP+0ME5iR4tI6HAtxccS8V0COzH/hzkEcuqB/JZlbaBjcnYg50kdRBtNDlt5ZISPkGixyY/CZca7qTilqCiJ5HQIDcmz9ac5RUmmhTn8blUVYEPj8meKAG48gUAn3pNmhMqfRiKAxk+ABbP3rhABbGYHFpxosIorgE5nw6AEb0pqxgD5p9Zh9LNgN3m2ZLGHq3qa4VEpQWmpmQwOh+UPmA8po45JHZGmSbN/FWg/DuOYWxTrhipXuzyheWXHsqgz7sOm2bwuyQs3UdQ5MQD+gdt9pad3P3Fvnpli0pbHCQ9C+"/>
  <p:tag name="MEKKOXMLTAGS" val="1"/>
  <p:tag name="MEKKOEXCEL1" val="C:\Users\david\Desktop\Apple Data.xlsx"/>
  <p:tag name="MEKKOEXCEL2" val="zzMG_Chart8"/>
  <p:tag name="MEKKOEXCEL5" val="='Quarterly Summary'!$A$3:$Q$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3" val="ed91fcd4-5256-4523-b0a9-f77d7dc18ebd"/>
  <p:tag name="MEKKOEXCEL4" val="635997036069977256"/>
  <p:tag name="MEKKOEXCEL6" val="True"/>
  <p:tag name="MEKKOEXCEL7" val="False"/>
  <p:tag name="MEKKOEXCEL8" val="False"/>
  <p:tag name="MEKKOXML1" val="4HooU0THZk28POP9trq+pbTvvzd/gcV8t56cq85kb3NDTsUhojRA0EsgEHHMH7oYP1SYpn09ysXVivguJdhTvfyVMsBLTGvcX7WPTor/CmXaNv5MOTLr3zs9jTduarTUJxj5lK9t5LYQSxiAEkvQ0YFcykJe19MrSxslyHq+8+WzF2cDK4mdk4R56pG19+XP4ifBkgkBb0BK041XNKnTJIpLt4z2GG2MVCYsAaVwHH1Gcx6pCwZXbphGHJereRSEwMWQRaAPn+9XT6Jf+QW19pfx7WNAJ04hiohr8YSiuthqhL+wNO4QO8oxue2CBtCsJVRX71Y9ZFo3QoUzBdfk3jLlcx6bT1PkL+HB0N6F1UBltPUOLTFgq6cRcl1mAK3TqFaHcr92MoGraRbsaxhMIeZOsoterJczoHG0jxxakn7xRckTckSadobk4+xuo9eIR7Rbqm9zVov4DcnOJA6RNB9k1o9kNFXfVonqk0H6qd/qdqkooxRZJcDdATzfac1nwTkOfUSJencwv078OvmXEeIOqYHu4NnXSYJVOtoEtAhDNku8sdUExPpbKHjKABItl1p3VDagvvXQfTtVzxHuk+v7HY4KxILpb4K170QD71MFSqll1Ab6fVbJLrNZcvR+IGDY2HpBD0DBbMJwUWUYEGQvrN1Zc7igLQQT5j0aUyiEqkJh3QAQtNLEdjYbrz5p651I4vMCSpmeKmHcZrqt0N1hiDZd8bNUT19zPdqX1lCNuovSVfDoX/VMx/1zFxEElE28tsR1r+UAZKQAJvwchh60Np/ccPQiglxCZRPlwO+YYLtzewml1Pridt3PSpH3eUh8F4M2TJNO1hkcsqtzl2ujcScpd0iFvXrT3NX77OkDm39hOzF1KaUPnAfDd17tLzIvToZ3mQ96Bn+sr6Fxo9oYi5jKOZZDv+F/1+U6xG5JpDtqN0UnU7y5m+0g0OWFEjCGXdXf+NsVQttyi5Mr9iGF77x0ogLsEo7vr4/CLCDNg2WMwmY6ZrG+GB08IAp9JXA+pNaawvISMj+qxZXGll+vputq3iw/e/o3BdM7ToKCBquXFjC+Z+vRXgJDoxEsaFsJgYVMUgWYbRd5JJqnH4/NE++fArmVvjbCsjezK7+u0aopCpB8CZ8IfFoeFsjbzMnwMfjNDMvXR5DIRwfTo7g76WYnzM2r/KqZCG92QG+EVT4FEGYQjKwo3t4n32h839BkjlHZ6ofFzr8EHUH7W5cTF5ytFSpITK7hqw0TXQIaiPStiRV9UKjKXxUYJDi8D6s4uOIpTi8kLu14XdTgpNBbAobseD7W8kxFTRa/wM1UJ2bt1/ZR5prukKQN7xYdfD7Zf8tMf5mlJkiAyjLfnrg94tG6ik/gnrqLldmwK5sMAwXGKbuVWOZfwo9jJFYOcfl9UuBmgcCU+PDn9eVs4AF7FN19TbDW+37vz5Y0Wt75FqhSa4q2t3FN6eBiVknwOx3Xk3NlmdRi0s/M5naPq2+zUlsmt745OhOc/Gg7K37sZOc7NzIol22KWnMZPIcVX3RZLEuShm0ekH2eHi82ukkKJPjRRr/eS7VrjDLVae1+MwoKz6NOwx8roGMVnIyVqE9QCH01uERNgVXx7tGrrmJ53nx3ZoTnEASYP7DuF9GLLDSRocg+V2VPbWYN4ucv8U+NfEhol3ea32Y+D56YKaOSenpdznRSGyCL7X2S/70s4M1w42iCXAdF7MA4lFfn78wQXCU9sZAwV/flOvNJyUInBqmycdWbIMnVyI0uux2uZ/jKSeDbOmsIm/l+gsHK73iVTAEVwX/4VkibQSJwNbywKLFcfvriXMNGAIxdMbxOU2UysVMXgpcEY0R+QDJY83ewtyXMNNGmJN3JN8LmtOCuvuRWQxUEm7YEuxXJRNS67zNYTFLD4YCC5PPlRTR4gZYEhWKC1Iv39Pr4RPD6/aSVyxJNXNHM+0QMrTepY+uoSRxGzGn/xoBf+2L7Dadidw5mAP4Ib2mhDfHy1ISY02JXsAcAQoLIDpBMvJpUJkyI+nqyWcTybAwIUH2PO0Ow5N3ZJcj9LoDQC7xzhxM2hamQSDop8CwNs1LnkKLaT2HHRzPz0aruhb4rosri0/c1H5iORv85TliYsBYHFOKjkgyJmzKr47t5qTu//0vL3iNhAPR1qD1qXP/JklWWVIo/e7OLzBzCSG/JlDFzqVBFOqdXkonLh7QLX+GObceQ8d2JUTygOUamT6dvCWrB9XGAjlFUg2KpFcSjdLcvXxHE+u16acQat60nBw/zs/ulkPPRO4LAMtmPWtXt1/RxF4GJWQONcGRG8gJw/VvgaKhoZDqfzRL+ZI4RNNhT0kO83+v0dmzCT8+ISLyEEY7FRPdcmstX35DE8k4I9i8W91Ea4Q8nRrkq0YLBpqCY6NVeP3OUh1f1l8loPMMeGMTQc7miGoaW92MYpoCrN9NeJc3ucfyaDJm2BdDF25oZ0yfH2LFbCzvhJIM4g2POkVZVbW07jZz8yNYAB4ywn8E6deTG859f8HJUPymdF6BAKrVY0oCm32rmWCCHKsAg0UU0Vdt7xsRkuX7d/E/C11FVNW1gbHsYEwyL+khoyWylh+pXpHE6qjFB/GHXxwCPXSQBTtwv4gYOBdpYGu42KyTek8gcx8uTy6MamQrTmFKy6Y/xjkPTzCkluq0tsbJaF2Uwvg2VFVM6zL/kCMzBG9mZPAOTVftI/Jh+OsmtG8VZ1m9eRpgiYPWOCuryxtrgkL0RCJyiDbw1APCBdw4OCoucQyTCJgEeHd7g4EK3xsjyWiOnOaSTBS8C42M2E+a2UKJhtepN8B0Dg8joD1Qt1QY5c5UQwnFUInSoLnCSkfoFX4O4L4wfN1oVzVGX66J2iJ3e+wx1J2sUct11qWi7ovWji4Sp188UxINyhCTTr/exu2zJTfe8eD1Ep1W8h8xFJ9cEFNcUzGBQsjBBHX++fj6lzh5FOqK80wmamJRZ3orvvA3NMxNUTLQcbZ6rHbZ5FFwMhyCxilTaAtiuqHUDVRpv126TIzfe5fTsunOLTEZyRzGyAo9goiRnaJnD5/93AwaQb36g0A9zHOq2DX73zsbU0BHRIe3Cz4jrupNGMdkEelZ+9+xdtSz8tW8C1qv+5l2g02gWP2IajKKeYWq2qHpdHSXZ1Xib4QvkFG/buZezb538eNioXHY7PNIJqB+bRBvrN4bOUIsRnClXwm9J9ipxOPpiBdIZK+W94Cu/AxoU7hIzq87KdCkRgsPd7FKhSAZp049bYqBSVt6gayKMN0J8UZkE3hNQuuJHugb4rHR8J6ykMExkmJDzdJwsCYFq+1Eaw0SyaT7W26qyBqxW8K5ePyYSurOA+f85LShQeBZ8lettb/qgt1s2Pk6wcXUgTaQfXq8YQGisf5CX7nrbChL6BsOyoDEtfPnXOo8NMbcAIxuZCNsoLiRf+fDeXP9z7a+/U3OlDuIcnA3Fp3dsHvEhXxVSmDNpJcU1la7IqAsUN3BEcIuFLJSZM5+As/vT5pgaY+SPJ1YzNFNEq/ogRmPqob4UQiFl770YkMvFm4Gq4bBxjlIWDllaktDbr0gzV1RUCP1Ev7aNCHT0g0h4jbzATuCOey321GhdJc+AX2CC/hwaye1UUGo7wa5ZIBEpOrydzEKnNB04kDUL/WASRqE/7hczFzkF7ChHqUxM2Ul40LlpgNf41CvtR6w0OkGiDV0mE3vSNcCzh7RWjsM4dau76WwSwu/rKLVN67sUW7qGp+jZ8TYhCowF5brWo3e1ORmwBSD/OccsqyKsJ+4DOlN4J/TOPrHy2bMHiexDHnQFLZV1nG9l0SU85TA3OpHLNjcGKlg/3kWaWjYbVFWKjVGHZQzTLse0I0WZv1PoJq7kpn7Gg27KpDCQKBsqer3AxDESa1XzMfgdrsPmoQsSZfGHiRQ4sM101vQxwfUtrzo5hgu1WMKQQlk8MLZjv6eFuZZbFMerzy1kxuEQbUjD1BPoPrX9bLuNtgq9zh+GUDAMoIEXK8N5NkNSL9kwEgPDW0dmQ7Ewoxm29C2vOq+GgHLkg/qjmGZC+pIaycJOhm0amFSIye28iKiY5icb0NpSgn6DlyzXRKGMDAwS9Mbt23xOVrgTyCSiRVTGkj2y9Mss+avkPSYBR0tPB7aLRptssFVKv98xjTIXrOkftb4SWtU+HzrSI1nFRxmzGTDEquNKEgOi7Y7eCDmoI7Abu+2wqqTek5vXkro8yB2Lm1ZpLPlyzERcPmlz9WlfAD99zkYps9eItN22Yo7VUczxZoNMq8wEKidbjFd1GgwII9bJfM5AuCAuqkTWXubHSgJGGNMs5Sh2tAZoXFEQDFhlU+FLSJVSqtI8ysIC7zDxxNJsBrSqcKuKmkhV3xkFZD57eqtX4/3hEMjoG8PHfSCMc5OoIV6LxLRKUjEZsoUwhpRsOUXt/hRJMaNgxqV8R46a4XcRcgycBvGRPMn9fOqBbCuPVD0UU8CZ3gbn5LccOsYrpx9hasP3LI5YV2j0VGwGb5WZ2ynJPdXBrcmrXlIMvDrT29gVaXn1t2D9Nyp/kZHMW/IGWlRLVYfLoHHNeOYDsTNFkfk2dVJXJ1oGlqrh5Ajl+Qm3I6VBUIAiCFI7nfxNAlVp1X+9cGE+Enp8iFJKYqfG7wdJhs9HP9jIFSStgEs9CBEQr0+DBTgikvPvXqLjbd3aaQDdAMVTJ956eoSgNzJBkjj49IqsNIs4DeOjfSaI1nYWT6tJ/j93qrAOSKqGVAO62VR1ZKqzNj9pz8b99yql8vU75cNbeFiMiaHJmr2dM+8o2IvjNLEnVKGpe1EaFHoQdSBfphHGypslDZ08XDuFJQDJEK81BzWF74upj0en9TSeYMQ65J5zhseGLnGTAGgnuZgyLwKi+pKQgNzQlL40FWsMduvQbuKxpdlSYxSEIrxsS/dqjSX3Vs4yi5UV1EhpkHkECX/F4V3HjnQs1YEv6co88XIJavuFFKf17H89kZCtjnoL8aixN1yIop3R4S5ytiQL4T6VDptpiSe+Tr8u2LWHP5d479LYc+PS8yMAoJXLaRzBFgngj9cFHY74vBpZLdTMgCZu61hWEwZJfJKiuN2sRFqWZKHFUGNPOw4SKeU094GQMqJnKhOnVBsxY0pvLXbrLoP+z5H76uiIqGTHx42MgSJgY/c4upEemUHTFpb6f5TQnPCIjbJIn1iKIZ9SA4/9v8+5XrwYpUH8chKllg64zGN0npwD7Chvu+uS3tdYA+mP3i1Nd4c728lda1PDQbeFNQ2gz1i54AZdPjiB5migPklP1LOs9JPfY4T3rWoGMS306+F8VtmmkxcQXLEGsK19dX0pbpkph3/7X72u2SiEtKQKnsJ5h+UVKbAMpT7dDifMYIIVVUkp6Nopbrfw+cSANhRLxb8vMYbiR1HW0HyqgKFrO3NMjq37zmwaN2kpqY1mQIWT9h8KR/DGVK4fMS4BdBi15inmiDlm/mwa2PEE+MnjQ2/Vu+Ojy8WCkT5UbBeILjHWLQUrw8yLTLKCcDmIkQUBnE451DdN1E7JT84pB5LGYm9Evs2wMFG3tlWNCkvP87sjGqcxmFWZFcoXpEnSOpYz/e/44VFC3nSVRf7unSZRI51h1IWfNrQAOwvrmrNcCiM+3sHSIbZhCIvy2DABNSSdCf4mtgRIBWySbshipuXzHt8VtuNa2tgqbrDoofp3A26vseQkbuqZFKfVan4KwtGjQm+t4eJL96KuXsV2/eaRx7lAG6LiIOsSaWDDpYAtz767pIxQD9uOdCIG8Kb8syiHwEHlGFF4wpuYiEJ9IOGXTILMmCK5/lPZxbpLaF/5G4p/PQ1eeJny0oSZWHhn+Eq2IXkYi6hOZ5cNtMky0OEYGGhUiCpK96D7BP0DDARxWb5akBsk74GczBqdAS3EGLV+VBY8yOC9LvYxnc9kTROmRUbJEzX1qsmxupbCi6iqt3OWVZzCRACiVAsGYh7Ys0BdOyaR6iz1vAU0hOuEsWYM5D7hIg+u2FitJ8cDFizEt9df7tE2TKNBJipU1mOnaIU38X7Bwj8nAmnw7ZVMP0ZUvtF8ApUvewenJ9RK6hyGHGWaX7WcSmeJnZ7dkXvPvTbK6ec6CMSTqtb/5viWDeZ6KmxY1vSE0xq9t9TXdA6cy3JC9KYnNPoJdGT9vMrtVb6c6eTR4SENs22hKeYftpOU/INw3qJ9MiPv1VYrlnn5Ch7wHQbAkrre5XOFeZ2zL9lB9pK5qfEyIxI1yrBfSFs1x/VgS4BFPkTt4cav6ibeG99+ftDtaXwUF6glXxCh5ZTCvnKVt4a/qIZF9257ZHKzhpDMKlViq86QB2Li0wWWsS32AlD1hkkz5wpXjb8ScAqhIVrkSRz71woD8Z187RtPfNp53WSzQfhDy8RCMhpdM+ero9ZgnWR1dNzMTr0lgONqvBVZb0FiySvyiYj7N5gKcmOcb/DSaT+kCAFz4ffntb/7jkxr6o7j7jWCn+wt/IP3EHWq862pbeBdVyTQ+NCD29kMmxdw+IIElaYVZxVOtg8VyfxR6qq6vBUJNc6T23y2coYciimzWaiFTvd4RxlAJ9rVb1vrd0zlu2YOTwo+IvzI4lHNLDie2T/GgMBqemtRQGraJ348BE/zElXjI70Xar+kKdnQV4Fhamc6G/aIX7M47x24yRKzzWRarZ9IPAqE294MN8yt2AFKjGGRHB1LGT+yOv8U0opPG8qkwxGFDN9v7eUXzKZu9tYbHFT9+N4oOp4jUCqZz9MpVzuwih/HPjDjsuClzDhvHoWqkT/B4P81O+z+FWlipWt+NXsUDHda0Bm/zMKUcv3cbsD0o7sfIZoHnc04kERspH2IO9igstGLWVBmiVtoNrhHQ8DUm6ml14wu23s5/CTM4pBZ5fhoAVmIHv1StXSfWmAKuU8ilZtG7XBkH17OkmzHiUTZugppcP5Vny7rmyWPe6q+X8d3u4Q8et1CeQX8NZozzByQ6UGeLUKiw5SIm2elUh2ServL2xkYisHZ02sCvbEHXd+Hh/qZzhAKGhIkQsSn/5L6KjIpOZVoTJkqRYKgRN1XI5sgFQQxz3EpTozOjBZ5KnZbdb/7NjbuTLItS4LUsuSxlFAZBNP4gPjr9vKQH01zYT37bNj/0ChIibG4WZfmcmGEswurTOjUNIe8KTwRcYlbQAorhkbb2pkS6R1/AHpV65aI7gD8V95S4Z8bC6/H/w803By4kXC7SOVUNH02k1gxdpVqoNVZMApUHMMwiiP26U7GRDMcXAWfugD3aMiSkXACSDyu3jehRLswq9g7uu3Im4/aOi+x99WaR4wt0rnS6ohLB2k1NP1yFG2s06WlU+uuSBtbeHM5br3MEAEOEuwk37Nz7Q9zmfziq9B8Bb/KLkQBmj0yXNvkH0j84FgELLxnwYpTZHp5Ai9pmIvXAiZE43HALsK/qhH17LHiYVl4q79Tp2KRO+TZlac1YA3QT+L+luoK4DQUYdFkg8mXhyeTy70gyMyD9zAUxnlxOeTC0dpRyq6j9tkCwnKtuHrxFtyql3/Eo/mLWQMOi2LibfPUQXeQ8fUSL68v12xxEKLPQ+v6nQRfrNYzKrjOc1b7ocVsROvr7LtRku31d7s9DNEWrkjiisLMpeR+XbVY1Uk8O4i38RiJUSfgGM8mRkn+tizD7af7IpsW3LKd4XATm9ZCUm62arDJotnLo2s8t5bAFL7W8EH2azDGavYvzoqBnkVQgqHweR4zW74h307etBFrMw7iz55GaKYN7lHSL99ZxIbeRa4uqMDcly20tAmQUQvCscFtlJ+37EMUfCtAqpLphosLytIfOLaToy6GjZP0Oft6+co3Oe+6dMtahhbgVZotYrV7WwI9wIcscaV6pYPmCBydlB2x8kZmNzaePgByeI9WSYUTS5nS21wx08eWOtdu56fL2BaAByFSVP6L4Ji5INUfy5wUccZKgVub4YeIGhL5cTjCcaJs+mih+v210va9WFq6zFfIbmelehROGLozvKKY5jddEHhuiEmZ35DoZIx7zg8LZG3sqzmPHolRgvRmxSzH/n2LBKjzzv0Zm9qCEh76xBgKa8x3atQLI2CuEwbWSIJXkQ9riuN0Vw/oOEgk7NDDoKbQzTYYeGfRJKbxbrdn8jx8yM/CxcepbVZ9zB9g/OVJ/hP6FEgrti673hJkGm0kntTPPv55+Xosvl7x0kUVJ8ZUHBzjLCCr23bxftqdIam0jFoyLSOhKr/dnSn0Kr0tVP0cR6S92bSeO83G+2PWLeW4DLKZfbDjx/a8IGe361v2TfZhFppVBZUNiVsON4fBtwDs2ZL3kxuxz3A4xctU8cBzoBKF98ueaKxnvKqnitO8+Bs48gMXLR1RWWx7OsKK4JklfWt4qso+KsJo6VP9OQJQQW6DZlqmNBFtPFrFzfDTR3qVZz6JPv2I9XtIldizOLuTC5PjHKwg0YzTFY85daU69VHZkTeT49xwGeQuyuBYKiEzIuzJg+E3XadQ4puiFkfKNEGP0RUhQ8SSEMHfuEpTLewDHaC1s9pkBTu6Gy/5ojTKcuyPx/8w4u7us9nmmXLIQbrRMO7pM30q+aKOV5pnIey3/NukKOU6V6MaypL+cFhwLHle3+6D68bilvzq53TdBATaLXw+0CPoqn8ncB1/GGrC0lM3zcAk3CgW/8ygFgjNMNX4lnmtupCvOjlUvMhCYU+jBtcUZvz+SJsbIjn3FilsA7xPa5BqDH2nmTYD/cAxObjOnanROZ8szrpxxsdz8SbwTpbjjyUHiCqsdJpGnFvuWxMhHHEKK/REIMCY7Ihhyu/X+OUcaE9AdxnJ/SWnsqYv5VSfyPYpqH1/FzdfR5aOSkuz1X0mw2pL90c+kXp2ws2Z7LQbYf33BOQhQf9y+cfrCpKOrFsrO4LfcQKi9RAeokBcDfNBUcVa6wU4uM3+oGAvQHTz6/iX2GUvWHOnB+L5ShH7N3HQxm+pYn/lVKhViYK7M0pqy8gGh0RXn9mxgwXVB4FPUqncJGUB2WYB3xflhQkPnCqofYZ6cz62AiWeyJ2P51xP5HB7K+aGFZxvHcnvAwyKT4E5OzE6GLrtFdzlI4jmZ6fH/uhHDyjq4g4dHQF35tg2pq6F7YjyvAFAMGM9XTqaXeiEq0dXTysgJdkkHY46/URVxTdP8SSGIQ5PfDFAuCqvZvsK02qP0G6sTH6XcaTjsSQkjAXqr5TjH84bByjrykQR+7takIRqrpwIP1oGHirR1bDWRwWH1Nf18XRVKl7wJoTdN2T9/x7Fvz3LS3O6SqzNdovu5OMOnjhjxl7fQmaac0+O25kgCPG2SLt7lpubgAs47tmA2nGqtTTRbrYJvKwz+H9d9dGGqwVv4iqzcTtGYZj/R1ynsHlZmF7IlgirNlNp9txtvl3BaTO9PunYdZc6Y2sYngMc/b1sI2fCZmoW8edYaLBObxy05IHuFpFm/PYToiL2dhoT1vCz/nPxmH5ncOrRBDmPZLqZOt4zUi1umYRhYfd7sEgRatBf0EDgnSGrp+i6xEl/PLDHXs8kjaaB+k4s3fwgM2CM0+Ma0BlJtDe/97ml6vGd2D5g5bZoMTcGSo75PWSABZwJkio2d9LCkfPoZgdvb/dHiK9qxEfU9WCTcv33P7ZNhFdc+QNrGkyUXErK86I+oG49FmYhcy20WQqnyPkMlnD3elH/VsZ96yKGVsH/9DMobuW094DPD88L1OciQbWbLoXrgfglMQhcTM2FYQZgq2yPUtRHhIU67JCzkV8z7F6xRb6pRB/mqe8W2L54rxLCZDOONpJPUSkqHngfPU0TjhmOyuZ04iDHp1lcNIuIr3/YywMzirgzSDu4sZCBeI1n0ss10v5PRM4GRUw29YRyJ87XHgR67TUnyT14Ez243QVA0SKq7w6Y7ElumhR51y3DME9ibEvFJnoCdDpyB2Ri0Pff4glkb9QnDC3JgwK7kRdCIJ3WdqImXM1JuYqAlJo7uLBKV1Axbx03o3l39QcJPCcR0dn7hQlktVMwdU6JP/quNeDC2fodFlzG4N8jtNYqj+tA5v8bTF3XQTRwQqnGjKFO2gwKrTgV1cRAem6sTmepTkfmwWvwrEcgoa2QUUFz4tYwopI4TRLFIQXYkjkptcujJd4Xjed4BtWvdmskVdIMSgp6TKQSrq6p3Zu+OyNUJxfgLU8ZfAWY7gPvS/LmEGaWMwZV3uMIcFufSe/zBRlXYW2yHVnDkODHDlHQU3WgtejL/l0h+mBM3EMrG1tsyqngDiK7oQTD5n9JfgDJzsi70kUCnjqJSuyNbCgCJmbyR1RNQwYBY91jvN1YRffwSr3kucIZdHCDwHkGBXfoBfLuARzDi1suXcCVE/sX05tB2ggaaLpWOVrgZes0LzVe8xA0kF39zi0HddY/7AJGPvRA1Yq60A60vropiLLd4BLMtDUojgsc/08bLp76eixT+VRU0sfW/9mMbj7KwLuxPXBYcClNobRXC+0cZ83g79TOzUn3TUWOoxxBrg2z6z41g0vVxW9AqyBBZFyS6LQgB9eG6z1rGG1AWAotxfdejoE4IeWgnegLZwPX9HLo+47th7jrTC9dKY6WwtdEhwSCvOe51maKFDkF84QZWblYSWHZp5ssYeiyIIlPS1UciqUG+Bhr1CG80OKaXuNus3s8OWbGhqrag5m40ld7WV+a1bYWzv6birWu0Gky3yOqthld6VjZ9up+lfT9/iPXqB3OBKUywj9YrgxtIwL9K6+7AEMQkvXbNMHDczPhSrD9TS1DMsnKpVfs1NdXuBG/EK93lMRxKRcUJDwxOlonPYDzwJSjNH7hm17G8U4nkbADtIL/nOlPcpA6x6jtg0q2qu9maQ+0BASN8WytaGqHLJGWSGotdyNeGhNkMRn5vH/pLRVVxwfSUAdvBISaVeqfUUlJfsz0m5MAfGBwBtgkdig6kUVgrAka3vi4HD3WOu8DeOmyz20PBh+netmo0Ik2fq5v6OwMI5c19Oer4LRqfw6UUql6J9RIPtWRfwJKqAaIOFZtCtPrOWPxDx/ZyyatuNSXDIlN+WQMdJYGcwmO4/XSwuG8F4fhMXVublEtCCHh52suNwMPH8DqweYNwh3LhwK0RNLmW4IoSLP8AMmC7VF1E/jDVk+OpDygLqjYkyjsDgI6BNHela4bAICk1AasjPK6kTTg8gdP7NZaDh/uGAKtRojFQbdSEBegcXaAQn/nx6MBJS+lloK2ojF8lUlwsvJ7DvCdp3G3Shu8L0oShfbFq0fwreYBSxKZp5pVhdeDQg4NlxVDLbRd3eT2Ol7ukvSxTnnrUyMjC7XW8oauIDOVv9R7zbMtA+NcoEOD177XKxVdas4M3AWzlO5V7l+lrmORtQ5auZZVKxHmvJF7TZB7J2D+Hdp/UnC7gT//AB33v91F5a/tyC50sC/pXacuIgXF2Cmmtl4iAfZ7EKh5gSZ8SeqAxMiTWi6pKbqBkZfy8QRZPcqiswOBzYpGwXFX9MventGhbI8bQcESXLlgs/cZfKTaf5kC1hZ4TatAS0goOACh9D2etvRCrFTN/cIEi0xRAoL8AVI5k0nxUhVB/ZusOz7BZMCjfjKAaxfoI6oI4fsESeUDX83e0DKFM5ZcP5qGaaAT5UqxzrF0qSVwrPx+A38OUY/j+LAEvURSHk3WkRow+YGcbIjX/VedG3lNJxJZJIKxd6X7jDiY17klf6gv/r6jVw2LUSdPyy7ASpyjJtHHUuNxjZOj/Ar26W57gd5ZU9KTfky13pwOaGQd1ZgjpMqtUqMlGIphIpZexrY85yme1aF3x9e2I3kVSETKlpO/oQna5GWUlHP3oGGwVVwiaMOAnYgf9jgJsTSObVvVhQvfffsUu7rsrJE83YPA/aPtrp9hc7ki/5r/7HFSIew/Ybd10THyXPq1fOfAlqjvC1Tvb+dJAsEiv3SmBcDqzcsrC4tMloCfOG2MiRPU/lZ58hRNome1L0uk81gsVKQ/MbvI06SZ/oG6eXFPg6ha70sCVDGmTvwN47s4FQZLK3WmGrSEDwfOm7Kf0FlnDGQspAFCRydKhdW+1hLe3oexFKhkIB4sAZ65yctsuOasMF2LEeReFbxBLqX7Jx9iUQ4GDzvsyV2QmT984oygmJt83X0UOBKuhd9jRtNViwzErIHgMnrIFbeV9B8Eh0HFg1brv4UhrYR4mXBAtBpufqsIDffH+7DlZX4mLcEY1/HTXZie+TW2e5rnH0Lq/eSyyiH0jEvel4Rjrgq4ajMs9oJaVfcL+X56kK26Gn7Q1hs4LmA7VIpUBrm1wL9Ny/ol+H2WG/+HoOODJIGZM9TMqIIqBky/Kjm5sI6Kq0avy9H6da5wtj8VHJihQfVEyG/NVNTVQTn8EDIilux9Drox0JLIUXqF5i1OfHEUQ2H+sGN4MjxuUEnxXsBRzQS5mWR+tx1bIhdNHlTCkp5QzIVujYCtrQTzGQSRx03uy4w4CUbe99YCmNB9qAGFFwDol8E/J70jsho0FxfXgYsgzWX3CReAwlbYc0EtyWZnaIZUdiwvVYzUKiTgtLO+ec4kWdh1ligsQk2iWXNdbChBM1BWeuEsY5cFi3KbuPgyexnl4yQihxEGsMVvMfTc6rVQI4KNmM66+3B5giFrHQud18p1nN2/Ae/52B0rXiUEtUVTz4hobLIr4VE9CNxfMGKNPEDbvPaBTsFbbosMItMOE4EJqAHiTSAN++LY/Mg2JgiFkoDlhZv65kXRGxstoHxCuoyStpWxpH1mkyHhdWXmrIhOEdxsTperljvhBtqQ7IBY+J0leHzoYk+5Jk4E92ovyIChDEnY+KZ9DptvF2IVRkKPo52mv6mXw28B644pDbaDnuY6/j+f1Fd97dHJ42C+EJgKDAkzK0NX1i1waDqD2c3biUQgdCVyaj0QYbikpAA5zoUBAHInjZJrqhB0udE3XRzkCtRw8WNtOoVpV9kIj7GPG+MBB69+eS9s4QLuA+Q/OPsvGpdoiqtBdJl/+RdutgaAdgmCbTGJITYu3I2oR9jNh3mILS9lgGwXOyPFceHaqoQiFOpAhg6xnSBFzaO+XnWMhmvWCKYiMS1tlElbEMu6+avfKmT0ffqTuGdEwynIl/G0T8Q8ARHXlb6s4KMuMG7MmOvCIp7skGIc1MX4Zh5Q6I+c3JCTEbjr8EJa33dvQoCtwMWg3O9AauIeWbHs0uM1vyeML7V5NZldIHSgg2uYVMDTa8skhYcY24g9DejNmsSodIqQrF6oqRxbyMq0rizSAxEIJFkTleyeIHPuvQ5Q2gRcyVZFN3LEn63dwplZaw6XMAtsLF8sgUGF2smMEJSO4pNxjkx8Kren73QLst8GcfWmyuspJ8i6HLJXT3xjihspgRv1JXBG5ks5GLoBt2mrTonVZLgCHl2FPA9RLzhRwdlFCPz4VPU+cWxGXYxXQ3tzB5w5Ks2ET0eXvx31bLaP9YSKYjCBLy5obLeUturAD83jI55EUnw4tZsxSkD12odgUm0XZmgJ+lirdF8iIrJnzZ+Vd8jEjdzUIv7GVnP/9sR81HcwyOWy5Yvl7N5dB1OSZuVUjFkNDrNFA5fJJW1myjXrGsd/zvqdCu167ScJfQ9gtvStPr7SlWLNXmlMvPHehuay9DvOnPS/Nzb3L78kDxjtZD4yL6AkHONC8so470ViMXHybS7pL+FBf+4t/gmN3dlsfZXCQKb2PmYNC1SWu53ecU1KwFQG6cwl/HLWRwNyKRKkFOBqCNxIx563ml9w9n/0tD6eDPl49j8z9ZjswumwdG0Luet2YFk67KTDXrPOlxB0fVgrCWYfax6f/VovsvaatQGl3lXPjm/JvN6ULoPrVG0LI/m2ga/TNUyZDGXPSksonF9WmNdzIHf+8cFYYfTFcIDpkCQgepoPKvtDEcPARyLqyJihFXJfz8vfMtaIUG21QFA/mm1OOckZPlTOYDa1A2elUJV+dvaCO/HltMXD8tAfsV0u46eCH5DCt9BqeZlZ/czYTtleKqyjaj8E61XjJrkIMWNmsrBNDK9FdrA/pP25J5suyQi2GAgjq6imh6O9hxHa8nNyJ3khux9oV9KzGFlfr/j9B9mhaqWqHN66d/ounjI9wSABpZ0AMD9qPcYqi5SDCNNZYSHzWSj75JP76dISBlXEpHSai7H7N5CO/F9yu9LlAENYmgCk9qLRtui09hMHP6/Wy4x7+2bg4O2jB5QHQv+KtvtLxprayHQKy0O048hKULApxmJAz5Wc69K2KqyNgjwmO51VugLpvauPnSXRrUJm2Q2Aez2p9o4uhQ22grM8afvLA+YLApkRWitnYo4nZFm1ncCH9PaYjj2x6VtOGIgU+XiTVRDk5pR3FWiZ1RgcEAGFThZmCs/+Nxx6Ful3pE5+LVrYYvMd8vmqRYXoEOHwqmmXXgJcYvR8ZAIdudapLZ6JldtlgAzWGrTCL2WqCy7kDBRQi+KYDqsMnGtRRbtXUAgaHAxmyi+LDihVjtvuUyR5xJSbYmd/9dt1GF/WSn+bIXKsflJyWouPNiD3pQc/4qbMdTO7CF0ttUxsDD7HN64xVqg09ILwcqyGDPZqLDlcyJXJY1KxuYm/Av8c38w1hlS57PX7UdeFt1f/YwjET1dE5LwjTRZHPPPJPCwxeO1+XvVJqyHmKXvPJVtrmNjR2Om1dnso6TrPASiklltUOI5gC7+2xtf2Z/bwWDfR3wR7wgAFWTRtOYpwOfN+8TzmtZPClY5J6WZ78TsyecrQRiAO/NPaNQ/coe6/mwSu++cAf1pSMhmxoeoK25IT8Tp8yAolOKkCymJYCh9a9lCKYHuTDXMHSlJx8EPGXMHQ+uCz/i3dOUw6qzCHBX0PiuWP/SzW1KqQGlqQU8whPodi42OewAhQ8fDbEnpI92gfrf5nuSybhFa8JGjtDw2SBw46Kkg1o9Y9DMQnfZNHpsQlvXkn+IwTbVuB9piTH71fKJurVUX6gTHtWCWJ9LW3+WksOkZMonpL3nmP2ZwXfm4sdpqLO8yeF6QRz1Zn+ORwtWHGotftu6JcUTo3K2KNjK/bgadeAMliO8svDWvXlynbkkchwFKmE3nx0r2l6EkAk0kO+ppXzIUfRSo8aEonW9+xVSYwRsVPp9boi4DfZsDcSEwXoJxHDfKRV5OdbmL5lxlTd4K8dmcoOxkrGp7+8euiUhHBvp8JjtSF5eM+0jznB+7jMarwlhqqgUY+pPcyBskodwhFxS5yANXfPhXOzbEUhwaGlMJ/87u07lSL4xLFkPx5JV9ETFVWPcTazl4MQvh9tTbKsFzL/KJdqkWPZBj5EqGp7Ya5+8Ap4vuH4L1aWPompOP+dKcQh5RoudHp9tkAo4GjiCimlj3RUHK8pRYK8cXCVIXgTCXiZH4llcL+vWWsuop/k1WAU1F5wyajqM2cZOOz8jj6qxukQCFFI74MwJ+kuu5er9wpwVIz9mRAj8kp92eEZDhCd9uE6TJtjFmc0jbjspguYi8FuCKyVuuTqS4NsGNJmT7WpOfCi2R0OiYH0uz4g9A9EjgZBRB4cdFabz93H37jcxL+Juu01mQlMLhZrx5BJ4JHcu8+P82+eFKM0FM0/ML0mX4E6+sPokO8H7aIFeW1JyhD0vD3BKnGjWgeusUMEBteFB66veSVZEtLvJ6WeFFzq31T4R9ZMSOQqxLVD97RYiwUvBrufhAEhu0vLxxKbLvr1EIwERCyytujZTX6aTrCjXjW/SFFwWpLj3Fb2AHP1iSMjx1sDd9TFiU2ObM+U33G1+S9vMo9N5vKLFKZ721BCJ/cp+QeS5W1vaTDuHWiLno5SKg26ivQysgTTMKhkV1VvFEDrlqKquT2T5akqgIFkyD1kguGrjgiGr/jLO9Sh38EkbOL3UAFJ4KW/1SckeZDsxbrcKjMb4SYOonrikPCCHhWp/fKnYc3y9jUselxXxYJNplbr9zjgDyZlbJrJ4VPwYzGiU7cm7noAV+RiM8rG8d55+ZmLp1Syx7u34ixjlvNSPfRHjdDnLjfoVcABC7uA/ALWP86bEYyxAMI82lDz0EcS8RYd3/C4IwDfmyEOjJ7tg1PJV6SHUhTRFSi19ag4/n2N1egGGY38j9Rhdaly3HRHVWIZ2+K0sMxOh5pNUlA/djUAOZMVfs4TB4k6ep4KAtEZcvcrbE+SrfF+3rXKnWHA4GoGj2Yc/aAQypVbUlsXYncRQMgPDe8lAnW4DR+IO1sjb3+J1TXcRsVcEJXyqY4/NyiYzZ0CTJqIpNUwiJB2Spck/OO9NSrECyuXYfpTFQMrV0pt85uukiKZiPTv7fE1PmDM6VYZNQPjCax2D8PTjcCAI8uW5r35CEYXimLQbENw9h2Fd1sAtK4QxBrbAbjDyBE4w7JW3woERlnCKkVc/F3F1RztdNC/fEs5RpI4gPCMJl/4eUZYE/5OUK7w8GwUrQXYY+0rCeCv4tO/XcYleqCoj8jQ786n4KiIPa8oWfOtaTLIddC/SD5hs4aLKbwtye8FG3TC4PUCNsCexufTxm6DkQuzvi9k76m704azwxj3NHbkN5Q9sWQow1E526dkEgvl6/Ujls0FJ+s2G5DfPX5lp2M41MY8ec/Gspxqz1uhDrqG6EEJVitqwy3M26dgfzeyZXqjTXuyy3jAJc2NKFmiXTbphnCkvUa1tzyBeX3Fm3fQlGLju0v2Thcc/HfcKcXgainZVKzUDB7wQrohYazeezcMfXfBScpmoSEQI63FeWJ2RIjDse1zgCWjFojKYiWRpyB9QwnrrBviwd/dtJj21aVRbQz63S6sAncq/ZDMt/achyHjgd2Fhwn7QHo30Xn0s2D40qpVB9oadaphbHhYgnnx/Sgk+7LlnGBFQPH5r5WtNOyCaqL3ukR7nsmNbf487BOc8JNfNpB5H5Xm04+3LyhmWZfkC3uyjweb0JcQbOPvlWovzVYUDy4eKz0MVmR2uJLjWczvUoMgxyv2T1trkYYahxAy+v+n/DiP3/QDTOE/YUouGkmuNinHNzhHf6tG4ona5DvSVSkRcOwOfljvJ6eLcYYlJbcRwn1D7/oK391t8kaqOVw12zqGAUL0voJkL3tWyTz40Ii+xp4bgBu1cATvFVSbSRpC7/o7VRub44wO5M/ktUV7UjvcNP0+rE1KRmLSX2H7xPXWlZx09C9TzLoP2QY+KOSyIGaf/+Vb2r2aeulqY3ofJfpU0z0dAN00ZdiM4bR+qEY/DgT7ysqpqL/XFV9QrY0XTTRJGMlkPwDmUWFgp2k88IxOe32V96nnYK/UKHgGzr3V32yvpR9Si6cPJRR5R1L/HmNGvXebHBniKy1yRelhX1HG872MaxEr5k3ps7tCbdps8015uV40KxC2/F2YifGhnjXJGA7eEFK1TWwS0d7Tm9mJ0maB+Ee5Lyl14vsJNRShwQFRWZC/3DkR0M2otG/ipCh5C2/E+P119gSnGN+Clz28gzkWkjjv350SnsUlFxkvA7w00AccJ/IbWRPSanDOazrmnZ+g/SVRXVuqnQsYBrZPt0hU9/kizDBadtozFeKuMs4g1dWhF3kZKUFBoZSTQHYP6htYH91AOiNii0dRWLu4xk97QumZoEZRdC18/KIqhQg2gRnn7vHeTS9J23hmE7KvOgIhr7ulptf1mgg1WnXAG1jW6iuSJc+wsiu7KRxudtGCr2OLuipavH+0hAyQL7s6a9fkr0k0pbHngNumr1MrUhVGJhRXnu2Ewg9WlPBUXh4QqFo7lZt2g3sazbKqsBYnBCOO4TDHg/8+fqmRw6RrPe0Q98WP6uqSZxuqgjt+5gpc4PkXvrgSgbdKUv0EipJcJsKu1w70ZY0x8FwEBD93GyU4WB1FaW2vJGXEppfQGOO6egGvgv2hrN3SY3nR08a1Dhc7RYugw6mtf9vqVug2wUBloodRg1xXkTRHh4hugCUEqFMvfKxj5xfOZnCRx+e+hAtIfJGCr6rj0rcw9GzBigXBZWB6SId2Yg/z7l6Wl4UBFZ/lA7T4VlzmOnXUnomr/c0smik3obnD3pFT9s+GVxZOVyGLIicpwvG6jE8T+WfKW3nsSnyIs2Y5SuTYu8Xr9WV3OQ9hVIA+Yb8J5Gvnbgndq6j8qtyQsVdUItlFRJZjxOpRkZxv1A0hgN3lyur7e4ejeP/fzh1nzm3CU3Bu3k/A2r71suRg/cZeEHfloPJssy3/eUvYQCTPRsZFBZMMh28y4xKN98CUGM2iUpcRTPUGdbj9NiIT3XzwVFqR1ioLrYZUP3uc3e5BE23VvEOIWddGCPmdP9CLVdZyRmlR2uNWeUtcegSfrjwhvgpep8XMFLnGQoMY9BshvSUvISmPxtVw7dw82ngvoaoMLGo69VRx93aF54PY+qfRH1Kub8QqwetC2+ukVbQ0dNaI/AVL4+ngDpSZMWOQci+yjxstkkif4fU4+vc68QRct9gIxPeLrEn9sc6h/YCaYy82LQYbh9//RJKp3YQCVm+TGBpBukrlEEASiv0MfpLVKuf8Hc4EYlNU/ve/wUx2qQfzPplT9O83VQ3WOxyGYkfeKhtG+/IE0Urcc0VTZV/4Q9Pa/H5uiwESSSnD4j5DrIsZmKD/rG4AGChDV+ARxkN6gvhkam3wPYACStznbRo67A9p436c3B/jlPAjo7qmCWmXlVt9W4WGJ0bu8c4+g0A3gLRN2dbwTsMz2Xqdaghh79pGVaDR7QtJLbR0oDKPuydGKI7jjf1OGjvnzGyqeDYVkwdAC7iQtLJfvQgNUp2GP3fTAvvxEjLCzmUWi26BhXkLzlJtJ8fj1Vjb5jZ2KF7DRfp+mrcERpTngspBKGP0ir0RSoz8DZ6N27b5YTH6gvas0kx10Mas9NfeZbvDHL5rihu9rSEQZTVpgb5ZCsUPkKHi5WjYaw1TU+/Q3+2tPwGDi3UmkprKbepQEZ20CUSwsv70T6dyXsKCguzA9QLdeltpVS5VORo1ibDVqqtMiiah3vfdQTVGzfMBXSD+kLUtbJbl0R3YRBOu97SHZpqOLzptaWI9O+OjmPPIbTUiEKh9YPqYJ4jBvc2KA0QQuBPKOMXZ4kDxjCnM9F3dNGGwYkKsD2pgzj89RCbzVy1gS9BXDCNBXQI97YSj/DuB3UJmHcHQF65fWRKF5S/l8WTsMnNtQFRVBnyzoDhPg9L6loycFTVL0t5VGnIk3kECsijUdd0U/9jZab52sW69AXfmOoO9ZVtAB/tKNjEw/gTyBwTFy9Und82Raz2ard10S/ISFxhTLBPD94ele7BKrUIbiLk3XsgMGZseQuhVMg0jm7tObjjx42M+B85RV2dybNihDeKaK8Dq+b3H77Wex82w552Kwmxszi/Kn5tiL/Kk+O/IcJAcOC4KsURphK0shnpVCfP9Cw0mbHLb4eFpDJ3VmvVcQ+frZxOmEi+x6Xzv6Ml2s1L7Nqbrsykjd+LN9CKS3dvYRFXCTkOcQYVEw6HWThLkC5GHdgH9N8/1V40ovI1NF7hqEpd+GcXKF+clp5YS/pol6JJrmKNsTB2br68QD1K/1ure0SlE5dT8+mDQT7JbefQ7RLTrwGiyRKLGK/qmt+sGsGLkuQYqb5Pjlnfs5TFpwYanSSmc14d37Fx/QolJunHL3zihWQ2fcccPIfuT07gjG0l1K6SMIGT2SJbQco0UoEcAOhjp0mFkiNpbAKHhXtFCV8buDzX79QFEHtoA92Ju/X7Jes+ee8nNtVqp3a4FnlEuosPiEVYKKibXpJfNdAO4ZO0Yi53kz4UDmkX7NxEUOy7pEfKr+yOFT9E8noCjnwh+R2JjoORyb2TcxqZHNbXoU1zFbLseNVjE1PErcFuuENVCIfI+z1paYG0Wu/tiOT2o5jVHg3Yb5/kuc3RK0N6nam+0HgtnmhICEURL3mgweno+mU/woPT/XP1FI6O/mz+MHCqvF6z73HtbLHUZx06uesKnsLFgl5em6hNZfycESenEopexDo1xLCnb142hQx5OIraRxfwQi/Hw2lkYiHuey703BKotHR2i3MrNCu72BA1OvQR4e9cXkpsbFvH6tbxyYV4f/vGSYOjGD+S56SccD+wvnMZDBkz+J+v50oDYLj9g3WL35kWxvaJeQYvZ+GbOyOCCqpoF/z5/kGEi0ypzCdJqHvZhaDyXXCaHXY4pq3ssRSMb2mun+zOv3Q7DBRpQuIyZeiFzmBzdUcgjPkDRQm4hU+KI7S3l2HCnaCyg5Ovu3NUmXhnLHwjM7ygod7/hHX0oDZ5UfCRZZ5fbWJleuKaufGziigluSOXQLTF5xTV621ynCb0Rz36jL4mEP/cN/hkH8lQInvu/FVM5wDxSTm+qU/4bolA1NPz2tWPm7W8lOQ1LSFvPLJSXkVZhBOd+/7a8AFRr5bR4zG7c6Fep5DtRrOv9u2EQ/b3Y4j/nQ9NobO9PP+IpimGC0d40XruGZo5Ai9q5tfMNZclxtrMlQ7RqAp1u2/j7Qd1ylmedAYuHgnyDyhg/Ekz6DSHyI6eduNeoFC1s0Jdr4fvMwX/GTvTUEwmJLLom1r4wvWeR4QSqb3NNQLhusz4cMAmc8ynTiGeEX+Te9AaOQjX5/77oATBEOy3ci2IJfYZIVUgrysIeRku7b0Lm21EzRJ8EblG8sC6vvTfcG9H+bF/i3jWqITM+xvTubWyeDzUMFa7DoX85sU5ByEvotjrHbAzJ0g1+Y8K33wiqOlUfje/U1s0GkX/DcsLhAo3LDioe/fs2BfkSHOyrptT9/SQb+h8yCg/O5DnHeJwfEjmPx6gHg+8UIr/4ZmQPN7SyRAL2RfGLjyR9nCF5ha86XaMwRYgc9ktBjDgzCjn4B0vVBNTqZ/PRcg6hb61hW3GGcxrGs7ACy6XvXiiisshec0MuuoSw/fl25xK9+khygxm7D+FKihlQcwuH3B9x6z+BVcIVFjnVOFCETKCl7DcOk/pnw2F26sxI2q4lamePGJsBKSpjLKQwyrPDVqvfCbBOjLzxIpfjdWQb5FkeCpjVHfSczKtbhpR2TSFxkc+hRQGIwRLDMcXxjq4T+HERhQTfnI5/nX3WMoXhSq8tik/DIL+RNB7M5UM5KBjXDj/9lfCvDwx2oMUBudSo7nUSYIO27vpYf/FblWeLF2SHEzMfjFXKgHJiwXolZPxVxRR0QlgU6a2n7BX/joXPMM+zlkSWQuY8aUtLo5ihOK15Gbfs6G01iuoAfkX7tJ7x6ND6ktaXJDAqoHSJ8k1S3HazdIjkM0Q214IiS9aT+eZWzroGcoEny7MVF+HrH7LiE2bUF5F5yuG/j3in//xGFa4XABHBBvoEhBaZwPm0G9g0yK3GGxbyUft9YZxsoz8LcHyCWLdUoqnPGUhZtNydHWlJxFPwQRkmsgs4CE5w8pdMXEPdoAf87kx4NpwASOYExw6o5dTvRRt3NbCx9XT/JLk42pLFeM7vLm+WBxfruoL1iwGWf1NQwiZDNcVuRCMiPlCJB3/kfk8xioLppKLay/xQFfdYcrgiVESDnmvPpIUu+m/AK+3ue5MsF2Lc2AvVSC9PR3xcalTW4hZXB3eTa2DKrWTP5QiXUkF+qUuaxTcY3qC1EyTmG1NmMQCRaSCnPeoZNEUJpvC8/mWpnaSlpw5gZnFJri60OKOa55us53L7OCdgcJN4j6AdQS4XqB9mNiqCTLybviDp/JPT+zZhj6Hm24KqQuhOXzm8OdakW4KCMQP1runvESrZHRXIzGP2BJLFbbT8v0kubMxAVk1lzTUlUMUCfLtdcEe9M5d/ZyXWKqnJ3S4HqgRaRElWjIllPizTgdVaUb69IzhCiVhbvkUwmfxu9gac24Dog+Buwt3QQu0ru7t8+p4RN7X7OLzl0O6PvE+e8eyfYC/U7eGWsFh+rVuAkXrqktbjkqY9xZGToRQckH9eY0gyx72fiZlM+68vKmwC8zNx2uorOSGsQ/ddIt81KOFMg8nuXc59ut7Foq05znKS5tgJLaHjQogEXrs7XxDp1YmRe6pGsL9jTYyEklmvczGqBN9fvy3Cak2Z4gdDxcZdhD7YnKE4jal+82Dfpzl710xi7r2w3npOdJ0VvjHk1IhCcRtCJ6nPm09gHZcLGayPdNVu+BQ49BsUaPwmGxDKzkKfz9pWw2DZE2q4aFVkIKriucFGul3IIugvi82tM7C+l0aeD+wvoeL2vszkDhgEdH5phjKq7y3Ix8z2UWo24OOnKvR6LSuQV4Jbp2jaUw3wQHyZy1DIQxTJBDNUyXjYTG+Fc19SlsIzM6KU/pqvjqB+Wzz9CFi/aIoCSyVU3IztZQ1ZOoff10l+1tF2wXWHrdIlpcxXEe9UsWS6bgroWX55rAHYXU88NGIld+tzRMIJBYUkHpOlYrHV/Aj5eYRTq511X46Q59XwL9D/+SDJRsAZb5Axv3DJutukR34GxKcwcc5nbVHe8nxycd1B3PemfpkNZ2BzwbGkxdC9iEYMdjqBWO992aXo4msW2y6q4ctyH7MmNSWGXsC47lFyxszXVh3pVwRwEjFzBW/dbnhNPTtD/Y0ALWSfMi6EbYOknqKB2+n5rrSV3tWIvmxUCVcnrbxwL/iNQYsDNxqsaNfmbo+WhKFuohq/IIHHpaMDfGbwRjmYTD6XLOt+aJN/ZQDtWSczBTirqDepeNjSDPxg42PHLoicXXsvnC1JZzkwZRS2gV4r4SgmhsdMI6EZz4opWmN8QWH27QID1OREBGKoj4KY0zib/Hg1ECFSr7EDriFrkZpdVGI8n4F9ZzaFUYDsPUgzeHQITACGEG/v3sDguO2sZ0UKZNm1obme4pHTdbLWpeBV5kcB/cNcWBSxkrNM1dwaHwtd/qaxRZKHy5U2MZaWWG4C74J8db26QaEbX872jYeEAhwlWZdZsXZ88qQco5b3qDxpIFC+xXJEKyVJiBbcfQ5GqqUYoaUys4IVOYYSuBiSszFR3KmgnGXhr3wjEgu65yAGklf9zsC1zK4erCp3i5LhIg8qYqUVZo6tENQ2e7J1xwqcuOwyLlSWnwFbxH0jxeJQrEyr6FrahV2oB7Vq2Phw7S7GglIx8JhPX60hz1Z43re5ggnnYAzNsoOwivGWtqD9V9+CxLAyRlmPQWCoKz+VM7Velk9sLaLdqJtittj2gEidqDoJs4/3iPuBN46Q1dcI3mB6/jLwB6qTi//rdDBwvh/3udhS/e5pFGoScGF1z4G+KfpQe0TZvEAeRoH29w00lqdGinigDIi8phQlGGCrq7BcA2cp6AasqV7lX3A4pk8v7/H0ejGblk9oN7otjPuKimhFXyBbBQQIeC7hyt2LGH1MP6w7IIw+gvxgy9t9C4gN6RlBwrYtghkxlOLNizbbrGwDRI7a6UqPFUIx+xs+2LOFjYs8absYv0X6Yqy2ED0wwSXsFUPV+To/0nP6y/rK8jgMPaH3e2fLeQQvUHovVPfi2zI0ctNaijTqhFlUvKsZq0OVZIOEhrlPtj4PEDXWoNKsC1r25S6+ddKVqssLwLUEh5cRdrghb7G8lfuM0IWIef10XP7GBXaAjCxf/EfC5I5LQ9Gkr7mR5tUalbkrE/UR0hboyhDDi3BtQEovO7MDFIVwgHt77DjR94RwM6UN7LxentFkNSmOm6z4aJmuS5oH4i00DHL3SG3qZOYi3gxtBwiDZ9av4CB6S/6rTg6HKs7qyf+CmUrtw5IISAdHh7YhVRiNmstp1fdaEyxT5+R91zwydtbc4PzyETaCPgOG6TGuMZ5h0Hn4CSeorvrqWVsDw/X3BGU1MUXKgYX0OAfxSwMRjwyQe0kdltUkgtZrlNQNqZVGpK9Jz6rq080RzLHcaJDSJrWfIp8UqnZbvcK9NeurG8CbvtBgc1UwM15SsDmyO8LL9wUVUn4Ylmo7Lw1d/gE74EE/4Fe0NtaeZhp+yscHH49g1GeXEu/3PZWULTLY347HRWBuTbgbpi3i9H846Y/SvPKHQf314EpnwrOccfdUZp2EZy94xXzrMLkw7U8vLuJPgQAUcaRMIjuSL+3+8KMUzPNXrpvcKMxO6k4EvxGhGyv+vSDo7BSb9QF6hjtDlj1fnpFZxWgnpZq0BxZJ1MV/dXseCYnAMebymCAUsNY2PvNxXViFXgTJm0wbh+aGYfS1QArPC1lMAKtj1gdhfastbk9NMOfy4FJqXjRnepnNNbwGJ0XBQWaP/X2ZiaMQHxIE6pf+MbVVGWQXcTiotd4sS2i1mBfl5rlUyL8nM6RGHCZ+vYE+TS51rLkgNhgrpIZoyiuVHY66Mo1P7i0QqxYcY9VnESGfVZvdrv7/IJAVHoHdG9UaA53BWHHhhXNJTRArRp490dGlTK/VYzt+8EvruRCtMKjkHbAzBsB7XV5mu/TSEhUalK1j0xm3jddolY2iXAIhFVDulNP6ScPK5o34BspXUcheXUdidW75KbQLozxmntLReOilaFlAgOFF4b1GRuL9CzS1MZKWKixBQuRL4lOM4RNEXBc6HCfLU33Ghb7hWZCVYMqqm01WXwZvI3iFSVtDBm++saP1l9gE6o5mYlXs3je/zJPbujrWjoAw8R1NeJ+ygtXy7xRp3LWvZxQ9Y5okOHRilHPMIA56m9bRdOfpqmrSPp4zIq/b+ZaBliwQxF+WJ0tPOkIMUv5mItcHJ0QYzE+Jj3L22iEcUOeGeATDs2aRwP9/t9+fyIZA6PJFDenuyi1VuQGIbtxB0R7SeASEpcxfNxNBZVFvffbGerr/YxJ/QpN1Ij0m4RRvQBVyc55cPij6yrSgwFNNEkNgv4K8MbH1HChFyMPuagI7JcFslM/30nAC3GGg9NOl1jucrWxfYyVfoTz/A6ud+rzEUz8zMOntTxd/hDrjdVXNHtImh2W9Ng0O+TbeC7+eDBuPIWKpYFWObMMC3qkm9KmZFseKmW6/cbrUchinkhCFWwnikXWimk9D9sySQgpw2DQHxxmCnxDZLEWvqOBnUpqVwqQ7UW2SsYl5NdgUly6OpyjUcD8Qi40nkhoEBUiYj+PWtVTsBRgcjYac4cX+u0Qt5H4qrtpw9IMIDFxT8WR+oq3TcqsE5YbVOwNkmfVomP1PorqyG4ReDhuEaV7IlYLLMkRlQLg91Sk8kCeT05njxq1tFuEAi4iYmHYZU3bsMD81ARZvCNQcIRbA3T/zTqydHM0E+cupQIKzsamgeBqAfdB4R9OPH6D6LLtwrQLI3R8roJ+Zju7E8QjzgaD7GCuZxFk+I+B0e8npHuoSlwMX9XqAvbxADy7TlnaqYuisnohB8RybydQiuhjuSwmJwrw7lycd159OEm4l16osUcKIdPTcIHoGl45SBmu36GqQw38ZUCkG0qgzMFeBLI1tXJdrr9YLuAlTOuNg5zNP+geftgzY6TKBwZ9IThrSR/j4OPsd4RR+aJAq1UVMcLi9e5uiJhp9vqLUAMLW9QfDqynxLPzgldQ2svGPjH5UkuaUrZsBDO/pXL93K9wS+GEQXhzSfMivNJODbc6oJhvjCEu7iHwWsMXaOGHiNqzRnqvIFSCu33yTdooaGO2E01dlNAnkMhkGIp2jXxJaJpzJrAlxaMf1ZtWHE7wE9kcktZ7LuvRkETnHTx3n00kQ699u8HH3HZUjOEBVkFGSnElLxP2byP+OBXew2tPk686f1U9qSuFAc6iVfQ4b9TYi+HGUGRbV+PeZ2TFTfIIocvSezwAaHtWmJVoNQXpT8C3IpWJm4Ap+nt+1/w2AlDt1lYRnSxY7ycu9fJNCVfBAtuhL8GEyJQxGb15f+S6xslhN2xJz95yupm9bnD1+kPEFfxCecpgXT35vu8XIdgi4Yd0ujIJLOINaPSL3MWN+c+qYRjCxZ56hV/if1pSLiliWpeZB0tnG0dy38EXj3KCobuMhvLNuDQPYvoA1N+gNAw/Qgzhq6IP5QdMefh7BduRTDHeBKhSuzVJcRF2v63ZMx2RenKgLUAWo9ScDORtGmrfklvaFGurfOqI8NzcVU06XRqMDpD6PdaQIGfNazMbcW8oJnoP+VmxjySqJJDpLK8sIc+MK6Ikmhc+AA0hpizdhuceltjtQIYFAY/rw/o8iNmPb0WFeN+Wvi0U5NS3K5/vmroa2uP7qFccA6vIVUWpYKbtkRQGGOSDPeSMXJ7GbY8db+J+hVTEzmxU7/nPBRqUELp8dhgc7Bybapy6QZwgFz3/fn76jw1i0IC8z7yxHIsaTGZIG+0Un6HwJ2tc0M28LqN66vY1mtOfQyrag01N6TtQLDy8umd6V4C4HGusv7xDs/k5WmlDQI2IhiJiwPlYcxnAtDb26kJaCaUDMaGlFwejT2lhaOqc4GnqI3lvPpuk0PJ8ORqBujI+FukLLzlqJa4R6vpb7Ie+7HVx5/4AVwa1rhTNVPTuVG4johrcAYJzSrHyxe4s/bjbaxvIe14A0bRg+SkIVifcPSn7qVDhe065fmyOOqGy17b0yN9sPmXNk1zJ+z3DZB4+vWbXBQDNs2j5TgNb2ebjIMjYW2aiZBHA+jHVUFc78qmaddmzqiw3X60zciMUD/UchDY3On+Wzk4TzF3JAqYYQydRuzmPkimMGubQo32AMub93KtHF7QtxzWDeSrJftxVB/7wypW5fxnJfJbFliFSBVuC/yAEq4fw6A512Yctzlmcm4K/Z/Sj3ZOJp58gP8inPGP51ZjeF2EdVXAatxtLD0gPugYIf4IiQrqyuvqcEkQIfFhEViVs/i2fh1pm/XEN3+6+eR66M6M/G/MtGtVm7SHqMYW2uJgFTGBkCwNA0Zb1tsxbbz1Pgfl0I4r6kF4+9hFiOxmqlLE/wBJNAfKb50L+qREe2wN0cbywnxbNq0eZlhLeGK4BP8fkbQd8R3SaqEwyuaBgIlZky2lkqwKBRJuKsUFmRFV1Reo+K/H+nbdLW3glamKq2NpacQ+KyOPYB6t8CLG3nm1/mXhCBh7YoipFJf9Idv03y4mNVoXGF+mK4MSImuZ5Fj0j2VfGm6HXiGqdiuctB3nB10RUKMckcMueWR/LRgnNB4ajdLVAYya+/pUY+460q6hvxy70fX4OskAPYubIaoxUthVzIc6u249XZ83R7o0BwNacW8WWIuJ6gfPyo1SnYDVhUNq6DYJSheJFUo7335CaH70yd4X08BWeMyz8v6zq2Co8CEDI02rjcRznpyCsQHnRZ8s1dEMDB3RWp4iBFwa+cucz9ATt/+sist3Z3swWt0wlwv9PAnE63JS45EQJy3c0pD4a3SSACJ5cwqzqSgW+DksdymPvFqak4T20BoHBpwVea1vUhnwaNHcnZoXMe2JezkWYdZA9H+eFWGY+PID2uuZ+79QGYHeKpAMq2VQ81L0D/Etr+tZIlUaldiGWGWLRxq+R4Ij7sN6RXTOI9VvW3NFAR4PuzNb8qqW+fq9im2j5c6OGc/haFkonl0Xc5qwsgWovD1TfWdrnDTRpL0u7waTujQRSK1Ls9ZoXREdXvb18goCzpQUS+KmYF7UuwMziwg0wmqVMOFgdaL/18sN5UamBkROzlbcjgtSSMxwqr/sfW7Y6Bg392XPTIUK1Y4uvxj4CjkE42oqyXBSsfMin+2GcAFTIpnCk3Qhf2W1QDqJb1ULkFd/ZlHBhYx8ItyJ6/9eZyWIWrW/erq9D4fOlvtE6w1F34Jz9Ufs3nuYEaMSpnn3jiVgXLgv8KeT4hh+2GqwVqLMKUS2viPuZY1v9VO8L0ZMyyN742XrGgcEBogMvEPnllnF2V/Cj2ZjKJhhOXglnxv48D5AM6vyrKkjyx4UNhC7E98EgIRyt+8axR8ivU2bz7LYWBJOA6BuTBRxpwfmfR0Hlpcd7oyOw39SVoQewIv+zYcufbT32iRvIIZb30dWXWMo9RHl56JNPtfcY7RXuDlnYrFK9auwRdRKceVh3EZdW/scgn0A53J+ggU8swMe0dOQOUppzhYNXvBg+CG7iwOthH7p1rZsqk6K3E/LaGxiaOvwK5B7r0IT9SqN6xFsb5N9ramIaCd2OluCEhC1risZbZ3mJDVCF40t0w4ABvJQO/KHO+Pn6fGOtLcUWIloFntT/QB4kRxvw7DlMT57+0Y5DAJZ1DaDkxB1bCqeA6zCjQ7Sk8+C6gC1Ohg0d48VqZj3CXC0DUuy3i0zkOF25dI04e9oix+yo84VRQbxc9jS9OJyDmdJTdZ21bstxdAh3JaBQSyU+9YGi5i1KpeWDDjhxZPVvARsn4rkXuil+julevDEGPIUMJlAoLH2vqvnCa00ZUZHxA2d3C265fZsWpu1qJOPWUjcAk1nUplfyiDk9HU8X0x3N7RFlSIEhf4FIGV9sbZCqt6VjXB+XB3zMVuc+tQvUGqjNyjsI+e1ta8ke6q27HHQmhVwbPc5mqG7//GBrPpiQGO6MAs54OOjUx5Fm609khm1pX+kHueZSV7fo24dWk1M9BDUCYNhDNtCqCxPl7mFiNFrj+4bcElQRzbt3qJg41Sha3WF80KackhKOIFSXyujDwqk7D9MbHkEMxJdCOiOov6RtCa9IdQgRAKNk//jEWHNvf35iTSJB9zQuRMRqFFlzICHtAUArv27U/9cckDCrZB26JdRr9gwdqA/2q2+65IuEb1Gf33Ay3wYFWZo629qtadrv7dKAGycpQ5mVjEc4wKGk1HK8qRnqOSoNqJzFDScZXoulo5PY0MFx6mAOXifJGsY6KDhb9BHmbld0fooDstX92tyeo+h221j1UaKAIbrbUz74hZIJ24sBIG3TnFAdpP3anj825Ml9Ye9v8PFDcJXK0fjht7y932X3Kh/tzlM+7qSvc1ST3ZHZmRNBp+9It5V8KaKA7YwWY5foUpVKprK39qG7nfBg6pzPGdkjsWqxxnRvLaIZV0LD4+dU0n06YTl2fB9yxNWZY+jNgELYugKsvl7oXCMW/Z7BbPztJLCF8AzHK9vx+zPJ5QqRZ/o1/fmPgJrVvuS0p0VBrZUp93Rdy5koUhB+iAPLTgI7VjN7yB6cKC5IN64lbRyxn7II8MkC9e4CRWRgrKDWQiZ5MfhY+82JqjY9YCqEKuo5Li5WgT3ODwlx32szyhEI+G1he58XPFiDbxGyr/HoAZScK1jxyTrbEKTossSodkUZJs8d8dlp6mrJAx3zSohumd9KEp26/rCMpWAIS/8qQDHXOSSASHF7y8OJ4rTMtDcYCDbSjVt+JP144172Z0KhzHSl8cUpE+rG8LIKHM8JIwXslz1+TzuzGgKX9+5n/YbtKzrbzvqX+0HEOWFADjHd3IK5mnPbDE5rWoU9YlHouq+1Uy441Q+8BZ8lF29S/oojRvxCGHXHQoHga9otMX4Cb/0ip1JkfNQ/Eks/JQlnfbvuOkD1HqBUIgdNk4hVm2JZWxroN4w/Eix5kHYCli7pCapi82+3TsAlQy8ZYfHei0xF6sJz7O0tEE0OiXCotIsbG6rxC4ZRmYzgdp0/nyBJvGu8dPramg9O9yH/jYUKAFYXljPQpdtjvZu/16c/KF3YfKMSj4PbTDwXcSEOWpm4f/ptabw6IQSpNIZiI4WPiItXhyUMEEW+yMIA1IqOqtfvwz5amBvU2+WwQW2h3pQ3FtWlpPJWtwjlTIVMKB3PC5Iyr9DmqbFVzzmTyAc7DvjXokhoIBG+7K0JAofxeiIBjOJbWqQzobIt7v0H4GYxg60V6OF51ZIW0LBNTnwpyY9y7VClPcIdVPvA0aF5fWj4rMCFbiUW4/HEMJ/EmCf+JJEQd7EqTsp13qQ93r5OHeyUKYGWupo9tf56tKYvpst1ZQIQda3bkiALXrBhlluvdUzqmvI5fPepWOPIFJ0ltH+E7vBOXgz9lRONdFbyDtCwBHEyHap5jZdQTajRV2v1a0+l3yg8k54vpxyj0EHYcsDP9uI4oSv6xpABgRuZsxYEg+P8V3mtVo9SrQJvZfRgNpFi6NyBkSmw4IluOGEIoBl0K2QuEjhVSi/XSsGyjJrMv+zsGTxTfbi18ua8QDYAiYWn7YZg4KICzEIpKcnomHWFBUjguAiRW8An7S75zGQeotKKMpfE6ZMA28D0aovknKPbBXyCOh6snZyfvBTpz5WnEH+KOsQD7063z5E+qDG1OX6+k5pxGoCkwiNNIeQDxlS5EUy1goz50Z/gbRQoB9y3bIsl9ldI/Q/Hl4R42uO+5i9P4y84TxbL6r2tKo0dlYRyCSrJu9b5TTM9Gq5L8thxF4G+rFcVwwr7kyHbltwdYDrZNsf7qvdV8KbtUAQXXXcT8hTF858t95FqmS4popr7rY0GKXKxhRNvROz7T1B71VkGgUi5X+NCa+bnq52twXrdIQEdhXnKLtuvRRU/PL0Uiy1Mf6zYX9Sk3w5y0sOmnnGnntXlgsW4j8apU7P2/tRtWm4WHsuCysjsft7r/9OLXTcpAzIVL4nSquf2JR86kiqTfbVD45adi56HEHN+ryhFITZNJpiPYre/bX/PU5ru0pR5E0kKXKR7mwAW4JQsVM3rd7lc2Z+KeNfMe4uT5JZjm65HkuKUxGNXiznBZ+zhcNs2QWWNafJfqDdOctBcBJ0PdsJ97OlB/8UkSpc3/SXsjD4TVReHaSvC4gXX4OCXAlo7NTGG5Bjguy96uu5YP2gYcfUTM9LbDbzvD7KvQ44Ml94m1uAZejGDFrdG7V3Q0OrbHp6hlUFjmH43sh/7xjCfZzJRy3ZRomP1iFiAGQY998gJLwJ4aOWPWVs+tyukogtVW0k4/sXYbZiiGAwDwlzypM2BQ072dmqWr3ABOXlgrr+M1I/mqmSGtq9+W4fyb4bE2PXwpz7f/nA3Few+WrkPUAlG/vnq2husbrJUnwfOMRRlRuIs95QQ/gzzkHJ4nlYq4LF0zpyzRuY0hFS3KT0d48xrr/ObzcwFANY/kl4WdEoUjVPytzBbNrxUAK6HDIa8Iz3wIzBA7kcaeGjFvmxfcPm4QlIBYNKI9fsqXFHTohfexLu7fuJm1thIcvI="/>
  <p:tag name="MEKKOXMLTAGS" val="1"/>
  <p:tag name="MEKKOEXCEL1" val="C:\Users\david\Desktop\Apple Data.xlsx"/>
  <p:tag name="MEKKOEXCEL2" val="zzMG_Chart9"/>
  <p:tag name="MEKKOEXCEL5" val="='Quarterly Summary'!$A$3:$Q$3,'Quarterly Summary'!$A$5:$Q$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OFC9zyDCc8O9D1aFpzvSM4QNgcN2eenHX3SB2AEucb8zeGvR4vfzxC3CWfs9EGBqhUYsu6d+OZzkq4IdAGxKKkVyTWskK1pSh40nagxtwwvrqWo3BrkWYd3Ljb0N4e/VeIoUfa50pmxXZ59wUgp56/IUe1n7sta1vZIk60KOAer4pO5MW099kLbu0eNZR4RrDmkDAecVR8i+BDVJe9YGntNmyFM/1clQ6w9DaNFV87Ry/UnGkf11aYtFcmFITZeXHbIr0jLy/OCYrGyvFLW21Z4oTyPMRuGrvXc7Keu/aR/NtBZf4+jvhzQVxbrj707qKtqCZj+WmVQcr5kK93JktS5UVFw8F9zcBph3w5K4rdzTXaA9P+29wn0ejv2EbFWeA0e2RES36rD1XSwy76zY8dFHzKB+GSJSLOVveGc1PmttAE3lwa/Cayzum4FAY3j79eKBtFYi+9j8g64vjQdnvd2OdaMLcmekLYnwfq3usR0aWYODnSmvwbCHdnXI9wYG98delFw6WZ9DiVTLi4p8HwwZDa+59R0YrWzq67ffm8F1As7qLwDDW0h3eTHH9vJ1YEDVP+GROIUBL16Mj6/gKLha+n9pi0e2+N8X1kVBQ2j+/YI9NofARmIz9BwC+Gq1XDXBo0Cc0qGNRG7+CjUacnq8nsZZmS8fzBT8Mxg5WfWC2TIvHxNoAdiwX0Ij/DKlGlvuod20wiMJwywJM3aBxgAIKSiy66yMo2iLygDAS6Vbf3inJKsk3CK+rxinOhzvdZ3+Av//aABEP9VvzQb3p4OWAktCvPkzBULYPIW/s5JEY3hW1d4tR/w77wip/cq5OJO+CWlA6J5PkFWPu0qKmehU8BeLeS7e0bppO+bGh8PssWOczZAXukKJM+FCJqQ92e/5ekIOqACk4mR5lWVCWvxxWXsWr0uXit21RGdoRcdZrcDr1iAymxbz98lsdWI9/SKg13hRTokeEfeE73kQ/3yW+a+Ocysxys7rbieQ/yJcj959TS9u3dL8fVM4jGnLcTX3uH7UWZY2htNRfZVAEGztU9FOcFlmuYuCZcY9GvdRADXjGlFpPNbLe3iKV4Z4Ok9/4kwu+QQ98ip2aY68X+UO4ad8n18ZmYgzuNyJzYbXbPRE/xyQloD2Mq3IvKs5QXbyDz264BZGHWJQFkOLuqEWfb7qoWrLb207A3lMIUKqFRWDpLWy6R0JyAHMUROe4zCkJrE8m6FcNpV8ytrexK5OAGm8wel5aAAMnhXq2QpLkWwpBhaRUqKMv+uLnsl0pnyCaElp84rtxRCa73poYmNekSE/pvOvP6IcaAlKNYUkXlTAjhcsmBEmmZYFPQAnDmuYHhmfyXoHSHdkhgkjadbr/hVfwfTQ/ImgNyKA2c8mgRg/CeKHepS6BZVvsf92KFzYqR/ttmUeqfKCN0s9g1igCiYNOnnEQoEIg5LkZqWh3zadoGPnsz/GmhUFPv13GXRnNJLR/sZH8PUQO+ULadJgjhh8JdjL/UzMaBPS2OSb8FKhCAqiSoioLH0sIfpToNcXK05BKxDpn306tO/WnFDLn7qJ066XoeXEhSr2L9vXR318CfeuBSYaENWslyzVLfu2bgD62aP0gznkV8dpJOjWmmotrNp4yWdmbdf+oRHqvMgIIrMT3DDzzaRpMc5nBFHJvxlckCSkZ6o3w79KiI/T7CcilH1VC6iTzzIdQZ/Rf5Q5N19Wkyd/LuvDDlcmUSNJjMRtWQ+7mD6BSuryhsCXwLpefznDiqVhMow8Jc7YuggnbabEVX+a2zCOmJkLWQnmXxYPvqYB8Xbozb6eLOOSMwlKISP/To77Zd+PcVEF/2o952+8pQe0buUY4uam2d+giALyvC1Te//jtCoVfEdDIV39jibx08D/PtveglvT9yu8n6+75qgqpOCaOR1eUu4/DmGsiAPNPjhi276nDm9q/VV0OlSCOdem36m5OzE5MXHE++9xHzd5rSxeK6Eqt5cu53FX+OZ1VvN+PT9/DJuuoejY5mS8pRIofLxr3ehn/VRvk9bOMOiT5AI9SqmpIBSr2fYIYuYqEO8rrBU1WOzS7x3I7adN0yLo1dPSbw9puIEQ87PboTrQ97vzTalTJtUkSIiDFGVsN6u6MNrOJ/TeQAU1hQoDv8Ab/1Cx+ps1GdJ6gTPpmRra3/WRmlEF36UpG5LdKe2eWjMgOJgG7PuQugVwM2oc8Jy7rhzJc4D/WUCp2ZV/5cMbnUQvt/ytzxU/W8SvbyNyBIzO42AEs2LpRuLE3nM4/hmhJec0rulm8dhK4GI6ZJg7fiZpLrM/B0Tp++bJREyoE4yQAPTZu+Kzjh+QUTF8GMphIqSQEeY/9NVFfkB/clLtNsK5AgP7PfEYdU4Q+LJ/dhzzSbfmL3aXuNUXAoftINZzqkz5dDGibQfUNJxLwVswnfjbDYtL1jn18LAfUxxa89m3U/3BfxA4SNPAE6NzfY0MIzeko+PkdBtXg6xDoVPjTwS2MjIBS/ZRss5a1iXu5Z9VFZcbM0+ZHY3c87uxVWpQvGQ5aer7izybpIH9fJpJMfRzgP8G4iplQITg3MI3Pl+f//W6iwr6Sv8zvgfbedW1pwENHeHZZBRhb4srUgIsjIlV6EqeyDbjWoF2RgjJXyObU6dTTA5yjsE0b4PVFvW9a7X2VO84/JyUAxC4sdm1mUwNlX5pqj7tXoZ59jQ6zunfTLFyCht69zCiwplzo/kcjg3JBChj3bT89BMcDpYoE2Eoc5XylUIWG3ZGoDKH6KMezDU+//Nt/02aRil1hQLj4qc3GU5VXJdJCXtgY9ax+7jaTWKDdSjrUqmRdHneSSvi/++fsqLTCWqiAxb8El35k18VNJpFTBbBAEzlpn7aC5HZhSnLMxCHvNZAfvYCAf8FMJJWQ5UyXs3TdDfT+RbfWOJZoOJfCI+/LIJByGlg8GtEqCwLlHVpNNm2CBwW3Mx1KFEt0maSd0Pqct0TG+gbeLSbiwgx5nf4fRpIR8ARC2DgMOEkulU3hinNBc8+4LUcjh6LJwzX9EXaMBStEZkHn/d2bL5Fb2RQivyeibVHj8lcjh7ZCqtQBNggmSQXcBl7cV7soc1oC/fABtybKyMHRkDyt/a/dIKTfUE7q6+DipXxhSArqPwkGPDQ40zIF1s1iY6zD2r6OrMEN9Htkvuik8Qz70U8t4+4nX+FETpFzhIfPP6cJhLktPWWEfKFVDEWnUMTJ619WYftylIWr9yVUdtjeamdoWKYXY+klj1lFbYnGItH95OY2Zlorgt9BTlD9iFIFRlHcs3EEkPdywU4gpd7M52mz45tFP/OparfrK8i1Q59bMa7jXMAWbyrK5dPjiBXf/NPAVxqFOlVVhsTpvvcrYPaq6RcqAax9+dI0tI65Lv76f++ype/iBWUfKDJKttqoxyJkJ27Csb2N0A0CFoucuTwZMHcnNZUYG5YAlbS3dB+PIsrigXRuuxXYvvRLNoOQW1CAMhhPBjR9GJK+g84ruhwSSOqgOOwH5qK3OpuB0fniJUnKveMCVOw+K3Qof1c0GkDc8uhVHk8L7/DXbDD6fdEu6Zc34W9CMmpadVgxRdxxs/wgA5zuaGBl7Z1VxkaAaXISFH0EWlegIu0BbDw+TZaul62YAIYhi+6PTa8EUM4zcNRc2vyYwo29dgYKed/9kC4XEXmKJRe9Ll01uqwoy7vpiHsa4uZLKEUnmCzUeO5cFIeqtk1CUBB7DcNJ7fbVUkEWkxVIe9w7szdkF9gHJUGUFwj5/oDSJcLp+t/sShtOsRmGqCwpnpDBiM7+Psu1qvta7m3rOc25HTU+uZ6uW+MOPv+vgF7HAUYTzC/nzgJNOCZSq2INA4hMimEw2zaebpJr1yqLIkUKA7G7sO0G4HR2G9rXYqdZhOpJ9PGAJjxrAH9BNzaWPu2r3w/Ew7RIja1euSTxMNuHXChaAsmD5qLSjoqjnn3VGJPUTv3JlQF6fuxxh04awlPhOhBv2uN4DQfLWjxWW0Bkveq/Yo2Vu8HCXcfBYTzxB+QoSk1bhrZ2+TJSoYsnadKMuz3L86VFbFv/3YMrl9xJIjcSJ/nMaTNna3nMYqlMW/BMgcZ98D6wzrIkOlfkLFtnIqPoRIkYEpTlaMM6Uvya4yV5Q2/N7l4iejXnoo/01WTGCbBYldz3t6qGRXPogjfTsO2+CBJ8nn6pHlJUvX2A/CkcHrV5RCqeaxtckeyuSDHXVQuCpU8qpaz2WqIK7+nZVCC93qUF7IkkGSqbD1892Y5Bu1KWbKlh+HOvN6HpQXBDlgcf1FAm7+YRxJoWABrNJGzZAwGR3hKkJ0iCYYf7w8VWgpxUefCiLy6IaVG5bL8Z0DA8lyCwFMjoXrdeS4eYpUxxPZLS0T1ILO/svrSgK0WuXgK2tUNxHk9v583pR8g+bLMN++QIdCPWJUqpWNqnHk5EFCpoQxiMedDA0JeHy6gHd3UkPNClft/d420O6RkIQG/Kds6pJl+7ThIce9UQIn1ifplR/+GlML4c/4a+wmukTkE/YmDYCEeKUWU6DPzJSECdknxSP4SeQvOmvaDapHGJNXKtz5zTjqr1ft2P2Tq6DvXSJ4b/8CJp6dBHSim7tAP8jWcRel+oWF8M5qyIFps8kE7RbXxBjEoAgbN5S+OHGFDrPK9uGtJaa99zsEFTd1URGEFU9jHrm3iCak2FKXhHX5ts4I51rSzH1qbGpareKU1dstBulzzSG0F75vokFJwKr571Si9jIKZhxEE/BaPzKVGzLfmYwD2YiLArdDKcnC3DliBgFuYi7EVMk07yclvbr0Jf66HDuaqU7jqjr95Mrz55pn3qQ/ZRTulhWCsxxxphbQRS++UpCH9jdekdEnP6F124XD3GJkV9oTEyCpfXDmBcGxw/FK3M9A7KvekCm+J8O8q8ehHNyHQpF6CXjiKec+zK8ix2ceUE4nScdqS/r95TycnKg9lP2eLWJVyeVTY0c2lxdDg4sHPKHEELZ8JzuVA+rA3n0I67ZpDv0SlUPCVJ8/PjioWj3M+HDIDOfki31hCUiKX0mEXsKbAPIiOqtmvIOJEIf+rWlbuvsnjns9LSEnF56ZjWfd4KIFWDJdyZsDWWPoaGEYnAyLEZgxb+5PIBUIg6YhSPu16dq7RpTIc3LUUWc0xmG9ujqyyg57haNp6aUnubnplIqsEWqsA62oCQ7ppNmUyVYzlckFxNc3WtEjNClllCa9egOsKtpLcD+U92hRB0jzniDfE69RbEttnaW48FBb88o90sa7vIRILSEf9xYrHKU3pgH1O9E7IJt3fxRPzKoe1I7seQc1c1g9H9sfNx/AtVjj4VQHa2ri/m2TfOpWVnXvwrDSRYYLfJ636POk/rz5CmxUMovBWsatiHgWfSZ1QYUaTGShFRzClKHrTF07+6YBestrD+ylXZTA1MH/6JVxdwMMh5J4eQozs1TASmgaRggJaSZ5s0Xk5GlLZNawDaqwr1ZIp6iLntXSc8hWsvIug8bVGJlNCqP26nBmr/WJogEwdNBckmkxowbn7vGmXx4FpzHfkoz6xIDkSvm31yA9yguLOtD5NNEKrr2dPl5qZkOgm9bXKGzztldMBHFw2fHsQd4GsYRhWHoAqSyrib1cahhxbHeEPohNdjwzcQ5S34GS1Ov2kkGCWUpvAcYOCL0nmQJTPtQWXGSbe0o4y477ET5wkqqQbY0wZaMomEl1hwVCTSxR2102oZWKF12HItoM/XRL7DrnvSfyyRXXHvkN1+R87ZIMgE3XU2LY38qMyVs9DLtcX8jtlkq2ypTJjh07dPjx5y03S71Eg/2KTrXj2I14PnW3DcrdLE9aSh4FaIYrMCTMXWqH00k20w49k0PRMq3ZmOiYuYJ3d/xZoMsL1mZWO4CyyLnNwPRiuBTSzvMUKSoDUmJqsWGYcJh/5PGk5IUEpjl+HHkgFDIqVCUt2s92OqXbYIpe48878pCX0kaLhzxCxEwaWV7CiqiYMRVQcimwN9dyTujI7uUKbe3Lf6LDXmfU5s0CJ7L0x4X7DHh94/4D/GM6qt2dAxgb9fUmil2FStDTaQALibv3ODT8Pvz4MKQb4uijjnTwgWqylE2M6rRoJhjgH8mQ0KwpjMkDAEvMRoCV1dW3wkEYXXQIp50ruGdYqIGQJn1gpzw+nvV5pNbaPdPy6BUlwU2h2I8DAzlwLYvBGpJufQygftV3V04aEGZMCg0e9xpXYSoDD5+n47hfrgDleDl9nfSqyIcxqurLmTg92sbLdTBpIgRdeawxZyIrzbBacBPwsbIDLF9TTEI09YAxXJwu7ydYy0kMUq4RQbh00YIhIJrA4N1/hV2S23f91/dptB9rDWuowuCZ8XWM2EhtABOKPCmT8y8d1D3kpy0o/FjKpGA9lIU4mnQqVyO5QlKO9IYTXfHhMQ4ylcm6sG7SBRtA3d7OFykduj4PfrUqy2d8Kgs9PzgtGdpP6HOuVFppnp03qUXrzjiPODgNQ3sFD5j31imIYoYU41txmlkz96VfdDUdiC+ZXDgb1fP7LhnKyX1Zx76WlFYipucA7KyMtw2rtah/l1X2r6P1vr1o+JLfQpkofVnMnyLmD/QtKvEMpzh2hKSpVhdas2K+f39EsxCZPMZAcd6pnIkbsLkSNeJeesvXbSXQ9xAVtCd29lt0Oyg+5sH7bRRtGQA2dENR1NqZ9959kV6PGEpthrzNtseVcWez5cL6CIHFkPDrbk0md0lmp/5iqc3ulOlzB+N/HJ7t2am0A/69RaMUEYTDkM7IFYM8ANQBYrcyRLmY35PVG9I0iRxdvQ3JyZtj2R5AUtmqZysGRp3INUIgx4To8JnQIO8Zq4wJHdvUBGRLspCF8ydYyVst5CiDhoTqVCzJqPx3u9eqs8+5/C8L61D8kndFl23a5/x1cgAhSUfAwCjj/lCERwEARibKflaytIVRiNBrkms+4Wfy3WEvQC+p1TkJPl8TI9NhEdQYRyL7iHBkjS9JiAKdHvE0haBxxP0tVi6o42Q9+ZBrJLV96x37gki4bfbcLrlXwxwNXypt5/xV7w4zRL7kMwuG1sWwqses0b/zNBXlu0XbJPPKSxZLjBvYJzZJkiYXNceU+9SLzYWVmNJatCJP9hed6WeECNnKqJEDH+r4mhdNaW0liB0ohI8IT59y8WzsgM+jb2wdu3FosnKw2fm2+VxzPCHF2b0Z15F90n4CEb/hw7uqZRa2LC9MZt63H+2Vxw7pfqOE3bzvI4ZT+n6tKe5nP/7F/fkFwtrIUuFxojrK2R2CSg5EWqX0GYFzo7eeHh0w9VEuSGp6bKkuuFwo1YNRFcoBHRLDShs/I9ry8vHntITeHRCWVNU95eHaKhqkz0tlA4o2/nN+g9PezRIDJO+dt3W9+7w3MgqAhtKIp7RJCAKjbjJ+lOJ28WyUXo4lxwd4gmIcpFhI2hBsdnIK9PBa3k8O/G+f6qzJP+qFEjs52/VTvf+k1L5RwEhbCTszZhVhqjcaRFI6n43s4zz6IR2GfT3HOS9A15zcI8d7U4/oTQe8KaIpVnp9iudnaNzm33U7D0nFcjkVb9410ylG7O5gAiiZXhPoAs2J4sdRJk3op9sz+ZsJBXItW0VAnYNxT2o61mrtEOiy9ythl+0DeFlDkkUs6cEcU3uVsrCdhKmZwmImPnjtYti1KfzGtqOvH16VD6jmFRQYzd1LlzZLchYU6vi3eLcuIN090wJoTD+Wpg5+gKxVcUqE7UtgBvm+KxdgPMEDzroqeLD8ZzEZEzqgatZlM/J5KEHcWfaNmDzaPhpdRK+UzoNW1ClwEITYdqRPO1zBb+wtoZfVywVpJVVLScNCez+vKDFQYiZsyKbUbljKEBgVxdn0vq+ETOAR4OxE7vhalFXPoGCHk/Sk9r/IBcxGEE624ySFXVO0bsBVdVmxbyn0rBgFUBUffu5wOU6p0aFkcdVt+DE4X/UohrPediOAwf9JTfb1tBqQNZxYGZAOFOANwzn2ndh3TTTiSa0JO8EeOVxxYc06iWtHYwDZhDYxnnef2j/PfWg7eppzK1LIVpoCrBA2CB+jKIspV/rWuv76N+9oatkFyjUZflErWjmeojv3binVetBNyLjSpqfKad/FFPrnYYCtZYyAsIVx55kmjf5GpPGSTvelQ1hlV4E04+RJmNgD14FwouEbepcE5X1aPUvtdw4/hywXuRZcqkB4v8ui4+Xw+KOCQJvYbnRd0ilv2HGsQEUs76Yy93OsM6Pmio7P49ywOo77Ojahp8AVxKrSMyGgggGDefqwrcJ8TYORmGKAjwj4DevZpV8Zblnp6LfTESLlmM24qqqDfC6t2X7N43F+i5i2XV7X+yDm1lOHmJBkknuo/OHnWe8eY+mgWxAQ/Nz2+X/275MMqeG7JzjsMIS8VamFk6bzUhc1npveLfImP+VgJY3rgQwiHzITnBk++R0RBZEPvECtfFhaR04pp7slOdFFhMMDlgEN/3JL/O+uXl9xC6CnNrqB1RPtpQKAZAANNlPqBVOo1EEvDtwP8dYukkWdE7V74Ut+lrhikDMZXksOuihmnZ971LJHV84MybhXALcBJeXsYzjH/RNagcoU5LidaHIZ/qxjco/iHn/FuDgYc9kBdkboB8FO7HhVchT3n3pBY5q4mzkTGyO3jx8xKDUZ2N9EoFpS47S7ExJ9x5Uk6Myh4OPSdI9/E0f6AtjB1YcZtoSTrPTnNVOOXDgPwmgggFSAEX4IpMgadM4/LK3ATVxUaeatJijgT2Mfx1+w+D5UzrrA8vfvKNVK6Rdd0vgXN5ZYwdTAs/pwnfNg6Eu24U2QQvCkz+Ja4ZUUBWX8ZGjHyiaGgXd1nbySBXt2IPkgLi6yyLK68ZTBFc8L2omHjUaPpKRJpvgL78+GPjahAnqoAvXWsQInXL9Wx9MibaDDtW0+yihVX4UptmzzT2Otmsbd1VuGk5Ca7iKyo87OByPIvdpwTLrB8snLSuwE2q1KFCc7qb7R64vYH9cUoLTWsaDpRsiNGoJfQYxj8oT0VWRvIpUyhRSQb9rtlAC/c/9uU4rVdGl21G5TiHw0kY/eJFjeO/8MdayqZjdZ+BegHWpTQNpg+Qg9FcT6xGXUX3VoO6WHObcrPFMJrTvk4o5jO+JQQvxpjS3YR6ZXOYFU7WeemT3AYOFTpR5Pun8jKV/3So3zuY8xi0t0FZOY1EX41vTMj70Q5N6sdppdM8FjaCwthJWzdC+8m791Ippv7eKRYQSfWTRCcwsY8NMy+uoC0Nommxq2NZuXX8wUr4D1NAmc70O2EqAb6cM8Dwy8G5rxkTcJLvJp5uwfrM7J12SHrvIVMEjBNbB01ICKMO6/y2frEYrsgG49nFQV5KV1/yUuGPQrg7JhnS92oz9yxf50ovFnYQpyf0mV+9uZt2wLJY8oQDmwcpKou3d6oHp8jRyigC3ZfGfg5p6diOFHl2oxj1zT1wrv52lPXeasYNpwh9O1vVMhTzRIbP3UL1az4KFIaEncl4Uaz6qsxm8PSJS9hLQm5Mz7iFUKQCgYuuMCdg2zGzdb8PfbSDl7VvkXzW8ZBi/AzJCpHMIbCJh0VPCrQBZpgtPhpX+J+O9qmgmrFATCLn5wutgb31ovQXscg/iCOPqcRV4CDKmbrssudoDQARh1iS6eMIpFvkycgO5v2xmlQLBVbdP2ep3IGKYp3VDrhcnB45SVr1YXRL0Bfg5WAmHw/np6yHGx72IEkREu7dlrNXVXCygk9mH99jJFRhDz5sy2L/GUb1d/luuXJcCrR6MMR7uaw7sC+ol+FD4Lgh3RnZQjfTjyeZLJYt/P9yCDPz6v8RZsCaiFbCOxO9uQ4/2lan1GrafHzr7Vu9f+yvDMB18FVTLideAPxQoA11UCV3lRGkpLopEoO2vvGF3qSiTjrD5Ew9A5o7ZKUxA6/wNWhKrSu2vdg9+RMabUn1dbKYJfp/C19BwrP+0Hut7rhTel9OTls26lFhRmsj8JWFrsZVYxzmtEDAqgARNRuSUUn4Us3GEmvU7wUzCsYQYPRzYqjHWzegcm5WTaQpAcUzP5fsE5CndNrUPSbNnit8d8db9+Orgm2md7Lh8mBntkW9Xe4HocpAge0Tuh9HtuT9X1ypg/btYbAhcjKfk2EDnvGvzrlORulZ0pTQYEQVciD/n6bjcqD4pOXOASJjhEVS0Ia43hnTaYedRUp2i5HtxplqlzM6zveFTAU9kyIhpHDezBGczY/N5n8fiAl0Ygw3Gsj8jFunAvaMjkoxCNxPxKsXz/Px+QV8pxX1DIdP5QTdwa9EcgCpu/J85iQnKtNjy0I0fGfRMY6qXD6qMrDs12i84zXZWX3cZByTyozmwL7xvboQpWZVhhigQsgv2kEbzZcT0M1azgvlUEOARog56gBXclbtm8OwvDBynbCZ5s9ug6VUnoTE+diSubRKd1qo6tZfMuEZh1yfsEzj2Z1RjRwvvkg/AhhY0MGQdANMwZBpCx988To1Fq0xuD0KRuynAMRp5Wu6/sYOn0ijv30SlaMMLVFbvlevApFeg0DBKQlsecawkk8yCInMsnhrE2U+J7tKBzm9Cw1dH+TAcWCin0bhnGyEYzvmO6Z2IMwuzxNAOvK7sqKYRzvDeIUvJUb3hjw6IB+eT8qKRrrV5VKoCSZoGch+vVBePoNXnPldeJR6PoH+H8GED2S27NtnA4+YBYUv7v/UYb/obEIUjpu+uYhGyB01atLXq6n3+fBiMjwNYxQlCSZL+1gMMd8Zu0Jhj4M5qT0uu+rVVDh8QvrmPaBcoddwhgAub5I5Cjf88Xca44W+j7/XudKr3mOjCnPc9Q+ISrFnPVVXdDFFgL0tSkYIMZ9PIJVFnPKgFO/zTi9kUFYFmjwNYO34bmKBzMoSNe8fP56ARLSGVrGcF8AJz/1N2bwNrgwrcLTj+s3OF9WcWj0tyyP7fJ5WBzOAf5LVXdLKMfcoQ/2CtncHXZ6KX+S+N3CJ3GVqc2zWJknsFQcI5fMevmZF0gKK7MeSnd7XaymnLLFJU5P4n1sl5EPEVsyyEOglrRBEar5MZ096ebZ/U6IonpjdDUOVYVndL0S8+QV35EbLtO+WAECsH9fSTpbBKiMnDkJ+SJqEl8/XBfR0aGLZ33dAE3fntW5XdwU9O0clf2ZYr/SGfwMKItCPkykvvoqMJEboaKWVaWYQG30yClJcmZy2WDafCPf4B8JKDxJgTxlpilB2e/MhUC6f5TOCZ6ayQsNu3zZrgnpqvAtkkTDeaXs8Q4JF0V5JdlqdY2cSPeGkLsHS0oLQhFvPfYcdWftt7Lgk6svGPk5x3bMuGyURFA1FOrSNeh2RxVcQil+BMvtKBDh4O9VYoqmjFwdrYEsa2Thaa8QUmysZYg9Cqa6lHcZFEIuJB3H4GtOEHBA1ahbIsehmXlxi9AcWvQotBKUIuMedyZyJHcJWp075Y12avQLonjZ0732ezezgwQe34twWcG0gKaUu/1RnB89yjey4iPzoiPZtlZoDUSsXKs8MF3RA0F6+IbXV6kFkEgF37QyaZu6epTdEEfvHujqOdk4yWLHfYyeV6g59vCW0diMeBVlFWl8Jscx2zI2r97Di3ERta6M2qOyEMnLmOXFfQaFWqQtcxpNrfmic1LmsmAntv2aR33+VMQrF7cH2mPQvk/oPKjKje7KrI2Z0Mt7SwFaq6Lp69bjI5mC7p65kddGbcvPg9zh0yR+/ICpT53E9t5A6T2ByixM4ECldqt+X3T+VrGfxgDgoh96yzHtIWq0AhESb0KoK6KBtvMiNZv3X+8LREa04mDPAw7IPEdSVtkavmgRrmn9FBHs6WAQGaHZRgIAwBDCZhywlW4IYSSiMSoAp8BPCibk3PacQUbuR+d7X3c9nII8sFoK8mrM232xibMPtk3aEa0wBdI1eFSCUDMypiaMEsvKrKDwpWcPiZQCOjC6gtOGn8y/+mNCxDq/acUrE5kf5HPvKMmmy51WKx1KgKhX8a4uh+RWSec1IV5SNQblhIVa67C3mnEr5tQOdcpyq2FFLZQxhXwiT9+2xWtkJsrtZdB7VjmRoezhZeH3w3OvFHxyYvDWCnAenIMlXmqSzmaRsQSfDCqZnsqC8/L8T5UU4XuCFnJ+nq32jxdn9b3UuFmlTUUdZrdtTu7yyzs7OkNEqO2HHxpAsJgcRI3U3emAH5QJ3TvpJrtwkeus/HMe90Omz/gMIKSZ4tWTri5yYmXpboUSWH/TEY/m+9rR8bsl1J7CB27H+BBCaT24+MMFaN4VTXxgt/cdz5m5VewPZXiit4mnXB4JC2GgJ12EO5T5/KUcNijD90zPEA7l+6zA2T+R7ZJPFJ3k5HSJB/OqrHhl8jqT2tlc9KHwI12h4DhrjxL17aIYdR63v+0Wjq/tGYLYAO/jKFmdU5UJV2dO2KjW6Gq5QLbuUW8YD34V2uCfIfVoqX7/DkJgPOaUWupwQLgKetMb9LUuecKkLTN9sDkNxmqO/4w0aA2xU2kfmi/DVnusXI3dTNYTYgXodlRU1Exo/F90tgx/dkB8FlwoGsEYXRsO0MGi+hAG1f2ewnmHr6gs6c+1LBQbPIyjZZEq8nBT6uttUEiZ8Lr66HCV2EpR+Nho9iObOjsXyEBu1vEhfttBo/+l4bXext86DFPyvSzXTmVbTKTFdSwdO3W1/A6KuysynEaxtBDAmRnR4hfPypMVr9t99kPSdkNAbdPbuoO8b/VMlNkivQ3kHpW2MBp9OxGm1uPEQtag1ZHsslMJKOvCTClJKVAZxYciQRhOAmvqYeX0SxbmZr/k6ePRxEGDAHSXRdh96C/slSlZbJ+4gLmVF90KCIrk5HMqFZakFaw3kgD9P7pW/HeRvsAb07WDAud3AAWgLvdbRTXzBJ0jlt7xmNbD53a4TK6Hq2uv8oSwXlVlApjs4mdSk+O/Eaw1McaALuuYDbxac84GyVbwSxhkGJHKQzfRBo6NedTZB6/3zZ9kZpyhilDwhDyUqPbKfn76Z5I6XTZS99dazO6bQ+HVUruTMS/H0BoTYjoONbzj2AiYIZ0QJ90e/uiVkM9F82DKvyx6lcecmxrIisgz6+HI3WZyaMb9xtnbzpPXs5H+jzrDoZbgflAY7UoaIlIbLOf//Vtfd1UJhjvdXbkWvR5X49wVM91JvjAyGS9p/013Zg2w2pfbsVx4VXJtf/9lw92aa2mhwEMQQ95nHApVZBUBBga+lWteIeu8/UpkGdzIYJtMk+UgfTNgebXuHGQ2V22dU7xTbHlE2qr8CsZ4+t5d7UTD9BN9LUvITK3qkXv2u40uAyuutHoRnctkwvPYbtIHrmL+HYwezREW1SJQokFhRNo8EJ0bxtoW6/hZmlDpVc2GNTwSGI9vePhbTCA1ptuIPFrwrVgCh567MXfU83EySySg4nOGWR8Cq3FdMl1zltyWD3ngg/2tmuTso0Uai/LlQKMm44nXxkNcfhHTedeaSdV3lu2ddV7BCromcOOEOZzhwgoi/070OGp2lWh6Xa/qO8+PdiyOtPi7sMpj6+BbwevFDYrbTHJ9/FN7aUD57T7AafzBa28sA6qzEjqCRftvOqW7Td6X67+4jUzhFJKtfQJapXuEPS2AjBDl8HhrFbd2cyhOgNROZffA1Qm7l8FgS4vRjrbiDMzGHKAow2YHzAnZqm9jZzAM4gMRr3ZbiE6DxT4JAFnzGCcIuFXWZaizqipc2ve/m+PK4m6tFMN+yh1h5wQbd3sppqW/TtJMZrt0ZQIr/SwcwOWB8niPBUWfK76L+dn83eQVw3Rg3QRcaen3ooTncwpxxR3rEUXCEZhH8YL0U+esg+ovi6YcgtO6jsoAa+fcfHZT2UMmtttyfhR6bU0BwW4sNR5I1ipcsxCgtdIbNVEI8xscjltgBnv1Dh+YM6lUC+W/E1vsX+uyMZfMMf7mFj9P7lV7ekL4L1RjsW/xS+4+mb5hXTnlnVBerQ5kw2CkLG7B0N2tqgWUQpuwQzB0wja9Le+Em5W0CgoojldLw+zkXxqHuFlLhINpS19VMSWUZ9Gb9fsXsnembgRNTWnZ78vFt899cr/JmxV+wHhXu66M8dYQoeZcLdG00L4myQaS5ToHE65bUY458JEtL9MGPnNmqRA8QQDzmzT+Os855pUFQ9Ju8iHNnGOF0GDKlZGVGgxPZilZ/kz6wPL4SZ+braYAOewONKWwvJn6BxmED+HHuml+ucoHlPs7DwCOd64IlQr0byKXzIXbnwE9406tPWjMJEkgVWJW4NxBlMymTiw8pCdD6PnfwrNJ1JTNeMxC1yJYq+GbZhx1DLf7EejGD5WIzkVYvcSn+Y/KbNecSYxjb1FLxao06rIZFvlsTwgOHqWmFecZTTAMC+k5vJmL7r3wx3gsxMG1QUFgGU37PbtrB/0W8V4Sqo63EJnr8EjPDmOtnKh6v7RqOqg/452HhT5Jftqz0DZIPBncknlmh8Tl4hLoNJY/48IxMMtib37ulehyjsgk6s2sh90Mj8FtlCoHGrtwEhf+TVkBEfnxCrqWjsXC6ZmaTVZTvX5WG7wN25e9jGOR/Qeu3zsqRHlQ19O54G+EPa4yFOUkEyOZlC5t5XGeULFHR4D7J/Vw5RtdAoM632ML9MkzjIU0lNnjElQ6/nzNEGQ4Hpo3Gq2MiVCLoei7IUam+w0ufSvV2NYNxmWQn3d+LIoq12XdiNCE1UHumJLueFj/KuhpYb9kAbjCdnuOAncxYgymKufVWbt4eMUKQgrQhyKUhXnU6yqMc9aVixOXf/jmSF3sOpy1xIm7tFbkDa2sHE7O3BgAiIpRImg14/39HJZd9dVH8hjbxY/pfGbUhfvmcxjJRDasMRx39SKOz1xb+TwxHu2UjnP+Y4bAiw51SBxUFpuXRA3MDOB4uHxUKUiK/9FkTqu6r99y5ODG+TsNUdrTzWHUMrIHyax5D5hpldLRnPvgmIQjWMf2AAyqdcKWeUcb1iUOeJxKiQ+ZW5QKkWCQgqLCWSGdx49iUuHtq1kP0w9N8PsXx8w5wAjXyxGxbIkptzhHzshwNWKJLGdl7lQw2ifjaeIXjEUNFGRdlQeQN89Eae4K/xmhY0LKT6XoWGCO1Cmyp2nacAeJRGYpz/kgmPrVMvkE5QibpWx1Pn7IT5dF2YIkyG0UtWBHFaIu3IgmC3R9dWD6QjQbgo1lPgxP/3sfaalVb3MJ/PggEz5tsdWPvk74KL7rin9hb5pW1HJ3ankztDTYAWQt77jnM6w741ab/McbjUsCzjmwS6Nx8jyAj0ZRRmxQOS9rP0Q9Fg7j88aZ4jpZgpcfDb2Uglf5shn13bwDRyoqhCvttoKV7MdYRab9TPZr/F81P22HcuW/9azmp+HK8es33aM2xkexxg6ptAtkeqhmoqpHcTa+A93ODD/JJzyAY/M4AlJDm+BcS3d6W6wqt3/QQNnm4s6r/NMU9qju9uGYQIB0fsQYXPJIRrpLmm4Ua2qgbEXSEqfHWBBye9NkOV2y4ILdnTqZgqziYgXWh0hFIUareJF8DytGYEmiMYDMfL+mBUwXQ+gjn3nA00kZpWo8B6a052Vi6HXIhHq55ydpAle81/31JTEo/yeFJItEWvnYZQi28YePppRh0UuGsn95/7g2d3XXRp4XAJ12hUCQiHij1mXPwfM+XY3ZCO1iS9V2gcR61mgxgNtLwSvIht8iwgd0Q2q9dfhMvL/rciHQrAMsswU1hvGB9uuIBsrIWdZLz6guKfcqxmuTf2fossl5QOcBRYRIdulAr3xx9ugRbqsNgt2Vheg1VRAMRQEXhEzpBh5GIQ6TUxlwa1C/0nJY9yCIPklYaTuNbPe95OUYDhIUTqBCfsbgT9+IkE8nPMyATZibxhvQZCOuo1e3JBBFNWqyFwjmmn4lQPlvVRs8gdIaFLOwMLHewqxP1MuiY0YcMw+tqwumpCDyt8eeGfIq3/xMdUF9ok46sn135aMjJvZjrHE7LvHHHcl7n0icGItRvw4DYj9GJ2QCuEvBDONkxAgTmtjcfJ0S7YuIxjouOmF66FhojYe0ky7B7U9VCRJ3zFcVwAxPRTM9FKvUvYEtdLBrIbs8V6mty5WbC+9hy6bwIPMm/3OpW4vmKDWIbKUTt+jdAoxjpUIst6KQnBUsEHOjNKmXdTJkGoMigAGVcW0dFN8rO5mMimX1+wxCCZjt+VzWNHTuQFLVQx5vrBG3cVky0bSmB7hiCsT3MW8g0sVy6bHAUpTkP4Hgx7AUWdPrB+uH2xqUnvTSFAGs5g91L1IVcUC088q/MOgmakFQJvK7a7bKIqoNU1Z9+uwdwFCe7T8aPrQeYtooHDNRmcEn6jynLzElY0+FKh+GBg2kL+q4Ww+58kc4y8TRu30wyd7UZMi+U/eYFS0ADbCgAGJfYrohYn/t36/35rIutLHL27shDkkFSZF+/eTiu6G16L2P+eFyNcgr1kJZDmxOSdRkp/hftpUnFkDIQwszcJ2stWprRO9IRA8xh2Z/s+/FfrOy6uVmuVOKyTsO/ue9CAsHPApRzThV1XqhiVCLtVtNauecUqESUOUCmIpSjYnKoM/1VutK+axfiP+xS1qFoSTJb9e0QKMlZTS2YYMNvn/TfUqsMlSejkUEyXcTiIg9+UaR8nTUjkFzwT8lYNReAx5069ss78FkqT4nOe62Ta4Nq0mvu/RhT+E1xI4h9/Q+BmT+L8jzO95HMagYiZgRBdTeI5sIBwvKGpLMOr9OZDE8nHo2sg0tzT8ye0UrVgNEoy/U6I5qrgjq4SdGLiFoJJZgd9fpUg4R/93HOVB9b4UMquJ4L8iK0ZeLoUc8x0ULEkvMiMZk6wJ2nisb80gJ8DXGIwm9XV9tUZjxNWn5KXBwIrS1yuHHJ1q/3tNHeg58CLH2kIh9AE4grP0eS+lezy2Ruj8do/sqxEjzb2aIFQZVxiLBFeppFaKdgfRrShMPBAPj8OH4bnC4Qt15OusbUbPPXPw9Oh+nEg3dvUL0rTL0didD4icpLOHkPxGHn+a8GB88q1RQk++R59OIF23ccQmSFCgRvsRDGrgfDhrYCp4eEVjIkwcMjGn3AWM7RtF6OZ3PrPdB1nFUvXobEuFUy2gUFlJrp1QOf85k0KKq6kDVDIz5fi/5DNGYvG/6RA+wURGVq4kjxP4xzztxof9UkUusXSdZ8mjq4OdcTGtSlaezldvdAWO3p4y7lSJKeJTfu1EgZGyQprPQITcppMastK2O0kc0z2RmNVy4q4JiAnyGgLpxidERsDOHnVBLvNjeRvFHF6JndqpdxjPQiI4OrBheSQmcKP9fTGBW+8A2TvV3Riob+K19D7n+XuD14Z6ynbYXlutJof8FrQ7JcAftH7knKZ434BNukN7V2osYmjCXZyOROOZoGyrtaEDLZkDW3sd7AxKtXWIXmjKj9PSUpU6YGYFNzq6iLV4WGgoTsOVCIexYYuAfMTwpoGAXnkKEWayUkdWuPdnYb7zAsRMueTCm1LlqGvSRR4VycUH9PVWkdHmADmu5h2qv2/z+hPVHjtqsszhNSTH2xdd5yDJt0heqpIqFoNR3qZRZw/TkotdfAKPRPLs8PBSPWHmNydURXWQVgT4n3zTlR4UdcbGT/binZDPtauQaD2NqzH5hV3T+UIYwYlSSu37Wv/6HZ0vI4aTB2rglAoTIYsCsnE80q1NzJp4m/ElgNzLXfzmTRQ2rO8dGeOyjT0Kce1U3XgPXGbeIVgJJhdieS8Zi/63/O/XoX+4Q0maetwRHBR7hL5XA140ymkXHW86+AT/50hZaJqoovgQLuECwbi1WH4DU+yvPm5kwn76Qc58rVEaKgXVDRJgHmiYadHNc0mny7bN/E+9vS6/ZlWcK7iRRpA7BPkepj5rc/Pkg+mahEKopigy5ZRygvWdTTlL202JkEDFAv63UC2gE/XBSL8/ylbVXTS95gtl9tN/IAwqZg7ebgYN/n+BJO6vCmeXu2i+TzbWFZtmRYv0JydsCYPAet/dlUOb+0cg3pyQWA7XqZVaojlGa/shgZdS0lHjZDBMiNk80F22EA30QE8yK/ogjgH+9fag2lhckGc7XCpxQGgKZOJPUMdwskyha+xurPT/R5rEd3I0H0EnnzvB6jrhwk3JCvuucudFwUk7RwzZ5TbLnn+MtUIPwZSR+kY17tOMnnrbAIiqR52q0Sy3hzJoXTV8x4I78BPrE0yQAmtX1yARUPTLLeFDgV01+5QkS8AyfP+Szn6W2uGdDQEpvqJ5meKQYp3rdj4zR+Iv5jD83EGwYm4MJNcyCd1DEYYzloHH/pw1IecGqgCijAccMLfsyzUwYd+m08FDjoTzA5k/5/6PPhKk4b3Dok/0XQtyQKRPqm+tb9hJhHI4SqbAcQ5S95Fv9ru7aHfNqsxpPhx4/UKU/1ubRMjLjghxfmRrKxndXuPw+7hwMghXhUdiVKCzXTt0xs9+HARYPQFFiY/k3QOtCUsF57R5gzoTwzXvKv8wmn3Cr8LxHgBb3pO/pV3yoS/IqJU6ADftbjUrVAHm3GXb9xh93quW2CDhi5Myt3lS1YIs5ZWTpHz2H6nHBPFBAU+6laVxsiVKKbh+cFrtHRHYuVzTifmcfr+g3BSGeZJsV+S2pzls/xjdsKaV5H6qxmta7vGfYbV5jo1ODC7NY15tFCz0XvWNzgGaNJjErVOwMUsvLraUU5QNCelFBQKgp+X+yOOs3RvXEaTCBRSIsWe5nREIDeBbYjSllO9JxTTMvQXejwyZtBx7B+/mucdwvqfokRBs/N8WUyKmvb3LVjaEqAaUROzP5h+qUvOqFVSbFJvwB7C4eyJQsIwS8y11ogZKlsbeIMacYz/kVkw71irWG3kMQkxqlj+oYROL7/fCUCNX+0gdg9uDymzvHm96q9r714YMZSz+94ZjhvPOJ9rtqUZVhzlg/mZqccked8Vkd/bGBr8E5je/04ROQyIMOL/SFwpfq60752/RQQJUbY+xRTuzN1iR+3PzBP3mo96G2CI25hq9cIxD/K637I62F/nlkXta2eshe/lR7LJ8YLNbmHGOQJguHnaH2HgWKEuEAshi2qa2ro5Fm2V5AOi36KDA0ADgr7l71570vhnIeJ4wt8H4erLOeYepKrroiH+MDQ2OBE8AYhOQjG9WcIE0IVoHzo1vIFyRtB86v3oHTdNHZ5PqDmvGDvmAlIkM8kryAhl3A2PPTJCo6Hh33qtlYYEpxPFkIDRycfAoeJuRJLmQ1qCzXgxOyCQUDk1t/sBfOuRNKF4+7rsgimTaYd1UbTNi6QmDiWHrmRGG3i1svHRuSqKYKCmfISI5Y/g7wlO27Ikf6YKWlLXc2sJ3bSnep6ZP5SbuRctwNOd8W613xB8HBLW8qgaQPQvAZNdob5CJ2nEwvbKNmLyo2/hTDwSRSs9domDYkNzCDw1lgHbYJ2ZcfSgG+S7mzhqrIUDpb2SvkwIe5QbRq+RK6CDKHTspBIFlTODTG6jsacaWSMy9806hKR8nt5EzYwaInPvz1L5chnEIUK5b4bzqD1sj3Lr13Mx4NuaBWoepWLtAmZnWPclcXlZL2Ji6weAXS3Z2dpCX9eWwwXkDU9skSGffrUPgoaonG22bFm7AlCSQjZKNl8j5YCf7xMl1SGwwJKYXPY/wRUsISFi3wwLD5/aXgNHLh5D8xcLW3BdwX2W2FdckIlEzeQImB2LYKK+axIcCgTQBTcVv2mTfxImIKOX3W5CqxuWzw6RXjlsA2PCG6PEVB7CdE3sFHzfJ0sWo7WWiAyeptG/lUVzybqYN6xWLvxDjGXDZb/VOLm/nW4BYkWjWV/A3rsjHBcZQThzILRz5cYOYCKu0GNDx0Z/E7KrndCr0FjlaRyBK5uSSlD8YfhkvMqhdvJezNjwPh6xXbYkiVBP75woHrH8XtYwVbTOcWxaGavQCMeARNumpM2FeDc+k7sStqGY1uTteZLfSbo+uoSxf68MDvqBMvou+hBe3Ghdz5pd1Cr8MHjrlu1bHeN49Ok/4N1ccTaUO08se9+LHO8sNRwiNCL7pRlX05IapJCXVxStWP26g4Q2yBGR1kEP65KL7O/4kjS42Bs5I30OHyq9DLS0jgiXcLVJBh4T85q6Oku/ft5TggsnscVZn+VdJ1X5huORy3IHDFLDRxBgiJjmos+RRdZ+Ee7us9MZrQha16AO/6cp2go0Z4IGBdO020MhGaZpzBN1Y+o+Ez9VCKQdECOcn01t7uifb7/E7ZBCQrxVjvABhUQGJU8tPTimTAF506rKHz7+l3+qtQTkfdRUfL45EJv7feuGcXZSkIOA3q5AwtGtu3FJNNfyqVcHmiZu7RxOGLHMU514VjjRHGOdfpFoY96yxyZAyl9WyZo3DnKEBHMLtsN7f09ww7rNyKd1m7fKJTk2mCIOfkNs10F/9hnUZ6BvoBk1nhVCORtGyWNpUsLwC11apKxX90quH73egSLYrAAhWvzI0bs7nW2oi0gAG/PclGah3Zhma5EYAJ0BE15I/THFchyMmHbnrWdMrhxjErYPFUjD6BfoUk1u5lUYJmVEJluiDngmN8oksMm4dhmuqT7dLqntFOS9GezQDH1lHJzeOGj3c9qiONlM2t5J2KEIbluvifYcNXLV7fzwlGU8E1A4I0AkYWO5nMo8xtTd+ZMBBjug5VYRRPjDmVGQnZbCKWpn/Jh5kP3C+K/ZscMibCwhAGw5f1BGbCnv8X3K65jsgesR0mQww/+rkqAUB29Zy9VcBDyt4mKRTJ1nDBZaYJGbxcLvhoYmj9vbQDzCCakU5I715gm6ViRq2pV/75ZInASkOSSKCzmCeoAW/hmkbonK3tV83We+BnXuiq9s95h/dH3ogGgL2OCLmqePQ5bjIWtOH0TyDNE3vcLltdaSuZPNphwLNDeZakVtkGC294Qd6r2nw9+RIHfsHWSzBExU28RZQ8hbNLjwzNgqrkLZ892gN9YQVcysfZE0+BRr7dk01mIDgJuecSA5b8hoLle+XI1ZYdP/bM231zwHXxiTvgi1Q+V/f8drVitAL7B5ekkp5ffeHJA7anrIGZIHKrgYpEwG6W2bGcCn1hO3lbf7smja09wMqUmGQw7NYgiptSCs2RvPdJjjrJHwub/gytl3DivGthJezzzmY167cRpFKj204/QDePtlyA2J5r8KtR9KQZojlC5MW8diTy2u/rV2mo4LNKUQYBqwvg4Bpmw+JW0VgA3/r3cA0rzfgzFb61e+92aTyqLbzl/JRIzjsJyS2ZBGAGjV4ZqCWJhB9c8r3WUInJvUYj/1XQKEZPx496OscvluP9Aqp67lSAWCoj5zWaG9uWLJw9VdIXjWiXSGZDN+YVd1iaqknDdoA0d6ZPiHR0TOuFhLzfmKvVFHyQsUeSFxtA+cMfc8G6TB7cBqvEFv+6bceOureNOvTxBnm3uFZV8r1a4EVW+iP48L9HcJEFx/uyVpL62FHcCkPwRC0sw1ydzoMbjnQmF9P6+cWFXsY+dXp3zvbUKsvA5t1AKmmaGRbw5eSlbVAwIgMVEan3Y1CbefoECJ3W7p1l2Y0pGxjgYszWyF2eVGfbYd3mQjfH8LjT+9dEX7LsG03xAGCqRRysZvayRR2WDdofpp9JmZB9GuPO+4WCgsLnUsR/rl9PGfzZkuyvBYfqJwWX/dXyUwtkHZP4NDBZOA0utS00a3YrobWEhHWQkduOJxtRz8pS+U4JzPhCq3/gOGnKRS+prIDsOKpkm2smdhNDmBd54F45hHOXHMp7y43TwjYKy+nBFLfxSwbyZoQwVyrjL73TB85rMf2Iu9tbc2E9QYe0ho478yLVOxKtQg0x3B/CCC81b6FrjYJvYYJyeD+65IuJYzTJjQRcNpR8lC2Pb9fA34pluRH3dPnHcFaWyu95azn2b6bELaj2AZyDh3dRa3hDCtrGNqf4EQFuASVxTnwjL3dRll2o/qNgxa4WYJwS+bckZIxUUx15sp1g+l5wA9hecpMdseu+loiXmvMUaXjJXNqkI8fnfPzeE4/pAu4jFJoOo7anrHb0n0ansDZTV3asP11DX/uaCT4s1C5V6LqCQYdmz7AFZODzkxxgH74SkWpZe8FpJAluULvdrxCHH98+ZdszHPkm19xPmgbesHXQmcO4zMZR6iWePm7Pub0/N/hfH4tHHhyw3FTydBp6dL2SfTXRSDrOjZtM11FnC7RaH4lMO3Vk6PHVR/ZmS9ImSof+/wG16vJK1W+ECWzP18DXD3xfsW6Cl4Sg3ZvTwp61/aeIcWdwJFBzjohtNFtgjRouNaz0vcCokGwDuBubPdzva4OVOq0jsNEwEOcDGPKeLFB0XoPNb+0g4zHCJ4p9MnTmKZzZWqa/6ssOo8pnhHwqCBVDYc2gh9dBSWNNX0BipBO/tTxyjcK3oMIuwr+nslJGNVoQSVC669mWRLHRdb/yH9kuh68BuaSwtDWMhi75+8nmPNCulLnwF+KY1cYwwEY1+Ik6ZraeWbiRZMGXYVfCZccT/uuf2MPbwQw9HwE/tRQYwGMEVr7eqsg+XimWRGpIV9va5ZEqDwlldrjKpIg+yqvl1bGXxt/PFqEWMHTsFzMOH2S5OwBsH2G4SgnxSZyHA/vbDNMYWHoj2NM4GLQn1qCyM0cGpl0uBOzk+gMF2upknqdzJhSaKZOz8rB5YTWpYYa1bXtnEe/SzE8i8120DbCG2Z8n1dDKEiYf5kIpN21Zy31mIWfXbgOSRxAaew20VAuFrOaEiHGKljlsFyLhgPNSw9gsj53SChkYompU0Vg8S+xgb8BcpOA/D+09EFXTKiv6ouM5RHMuCZ1HPh5RKVkMd0UOn1VkzKP2qUUZpBY93iBDJJxCHxa1Njdyra7HUlvYtLp9ENM9MuF+cjvfWqp+wsz8eLAJ3Cu3NYs0OUv6EqcvSs9ldld1cTmy6cRqV3yB7rQYa4KAU2H+r4N2wEM402YJQVBF3eMGKvZGXtyCLIab+0VfIIur5R/jRJF6fa6kCDqqe0FxOoSjpvwsyLDo1fTWFVDbzXmEC3W/Df/tJNzOMYT7s/VPJodmIMvFxFkVl93erGcDJ9kqTrNPSNGQwZxhb6HyrAmnfrwOg98+oeP8N34mWLjaka/TW6UVbKn8lMf7SDdcM9DqdcUEc6XMJMvflFnOhLVEDLVm0MpTOJK9tMh2REZ+VKrlYWgFkE8iC5dg9nJzFvbsozQf03/beG/VMX7oa3jWNTZCMy9Bwsk6zXdevVCSRtQ4IAlJosCjOtAKEgTL9sozk6e/76nmWf7669wqvkCuPZpU6+iJE/Hg8t3q4tZF+XI5WL1DP+UgtO9Pk7K6rPjPVN4XA3/WuaLFA13J9w86HZGU52L0qnA9IocVHzz7a3K+5bDg6267gXSmDfWPmVcxnxoBuvJx2SdzJy0bxuDbIt+cKjgUfNCK6vt4yBjyUPHANRyoQRuBz7v9wV+frPdABqKNVOAJYdaL+mhEbCza9Pybf6PqNJ3BGBh0BuS2IJevQZuzBy5wryhLPRJJqvvU9tHArcU2yx5QApSY+4z+brHnap+9x5p7fR1SYc5G1BbG5DsDdiafvighMeRGG6jhEqWwEfWV6h6Gvqmd468gNfbhuOZzUdyXmUby709CriBc5UHWNZrUmMb475w/9PTsD2zLrbn7USNYURCAGxf30GfDxnlmbrBd4Z9WBuuRZ1a4aaAfTyHfni1+q3fpg19jHJaKYyJObTxfGGx0Oi+Woe4wFBvdWI/RCwJ1egRtA9TL0NmFRQz9tvak2OF5CYzuHa8iSOFABvKqp3YtRWHV9yPFw5BkY759GGIqZi0qQVwXASp3Mjl6UworqBi/HTzl1HJgkSlIQ/044Uv3aan1VB6A3231hzVG2iURZUfT2Mh0WPWf6onBo5UpuyNBlWI4A57yQPv0RLr/mnJpYIE1W+fgVAEiNkV6FBiBjWzbiFUw1O4d20/CekUhzJVF5wixJtPOWATIbLaVwf3tmzCJHlp0fmLlKvxgMV3acOC2p2TnTDGomXl9kCF13FpxoAipF32c9w3Bo7cQjjKQraqLLj2hjhJMyM2J53kpHV61TEWhDwcex7qDbMudF43kJdPqnfPujMJWsz1Gzv2RIt/pgidZpiDeldHD66zogD4f61ThbklB4EB3yYH8fXwKsoZ6AJLzK0oiTnGUqVgb03UKUSYhAhKaTuqaEBrgspmU7JUrE4Xx4sEm8UGEiEwF4DB/HBV8yLhQVvXgA7KKr/iKX+kbeGFfaAgGu80QKXUqR4JIlVjy3YvXYIRdW+XSRCucALSH6+o38u3dpdOvaIyqKf5Tldans1T21za67M7BXFWa5MEEgQwFaOSjFv6Ue76QRjx3MWsVwvqrOw0Trc2+6Jq8ervd9N2ShFaOEhmsquzWvlrFHKmu2HV3pvcOzDi3+UHJgx/SrbwdhY3BFDTNqlrix3MoOMbrIXNbouwi7YF6MOFw3aHDK0cU1otpg2B1OFQGliZp7eV1radt4O5qGpWJLi+1xxaUZGQJcOK5UG2FPoZ7YbeSyvglG77yoI1LjSUtkgq4S16AmdI/GgiiUHPfc7lLXe9F9+Dy+nEgtiso+yLE0eEzUnSfXrZf3WOF+ZScUc16YjqgbOKwcJFoDH8vEX7kSvZOXQJzefHAEv2dCCabxv6puVai3HBqIuRLnmeXZzfm/1PV/0k1NuaWlMmEYzG/bWddtmI4xe0hbwDPfiUgkK+e8YA7uisLOeKVDPR0gpDb5qEungVYGYpQT9SniCikZllh67OjZ/o/9DhHzU073Y5DYn1AT948kZluYX2UzJ5+xCVMGBtyPxKRcxtPRCzmn86gFA80LYcDlLbIeu4EPJv4x7BxqEGsqMsF/PZKgP2t5itzXycfpjhy0h2ZCHaj1IKBEv+eFVYiQ7Cgjp/mvRF2j+6MlpHWH+M//RLMdEgkZUldVh/wZ4lgGrnOHiF76IFd66/G1R9bJZpNaiH/DkCZfI3V1FlnkFxvRNXv0KMS2HamZVfb4MrD2FFwQzCX9ofm/vbVN0uawURgMKjMOtvxtfcHgYewr8p0eo7eX/IZA0LQZE8iEmd6ZcQZ2qwDFabLin3gkzcHVvqurbkOwhF/VUaRllQ5d0DuOvgQ06XNVsLGrIfjlWzXoR4w/TJwKjIbIXpGuN9p+iBgsI0eFF8Sa1FDLrFTJRIUOiPbFYaKzjVTUzthdLuS7CLu1lOiO6H/c6lyAyqYKJetDLHdB2krS99cXPhbYNJinrEcK0UO4uiXkEE5hsoif4l/yXUDoO5/M0rbI3G5IY5ydYwwbox8PWcYsDgn0TKCukFk2G0BCUg36xYpESYrrBF8ICsrsz5rHGNiJ5a3R2P884+Kfqe+lV1p9nIfu2dYrKomKgiUJZCX5xFJgIMZcn1B8U9Pv8ASiqCfDeiUBw2D3sv3E8DmjnrPur4ZqAK0gQtS+dbubElemr9BNdV/EqGj6+mkZUueNq+2P2qS/vq0sUBMJdDSzsf0LjUMReyzt0TZisCaRk4uWbtv1uh19qggK42WWnxZKY6AZe/Gn3V2bgk8+EvDti3zlu0eOiGSFlUoWzggGq8CuweONuWhZunvQKX8V1f/MaSM6RlMoXvQW4J3VwWSXoB1hlg486LA6Hlnt5q/VbTvGOvCiTdHDplr2v4raZHFr/ZIRMKUlUg+xhewNOsvVe1w6JQYXFfdroP6OM3JQHMXY4DhawkjfSElmZzNhIm8nZFUEj73nNDxTpqWAWZfQbkXZuTRj82winiPpAUn9U+95z7D5lyz9vaDxnngpL34chHqVijGmywlzO/7etniG18d2JyP59yP8qMnzjlHQ6V6iHvWU6W00ADNfpqL/d+xz498I0jupc6nZ4wS+2sZwgBaa12oVw4aS2WY8cayKJo0uSNKD7tDst68kXfIu5tJvuStGqiFzh/JnUbnd6X1cxN5+jz5RWSPSIvNCCujF2PrO0ROkZwSARC4rDE1NvlWPcl6Xl6l0DYJxoM9YA0CLR8ifcwZ2HPKE+djEgosnhECz+iSBAfOgFwsoWrOpxPyllECZSDjr62f6wEOBmexZNYa3kx9ESho+I9Ad9CYiu5BWN+iB0pkOPiL0zY6VENZaqcBIcCpUsX9pu+BULPv3RB+HUYYaHdzxqGM2V+xxTbsPn4JnF/sK/Rs8i8n409tvn5F+mPlHrWTcuZnnK3vzKqnhixHtR/txfo8qA3rmru6ud7bOLKTugtfHDQDabf4512g7RvFyZ1lfIiYB7VWkJsNSNafMSFBI9PdxxR2lSLrz3mMlQ1Ka793TvUKk1Kw+VsPtLRMGzAlqpdewSStl6irS2gZR4+ALy5RVFTwoRop2sh9bN4oq3Kzm8Oj1cyCnOrxrOIcOcX5zfUaU3S8J4lRoKDawjSq3E4iYEpzXjsR0m98GiijiNZf/zlLioMnmFP1+2U7xTu/TVt7fmFU56FyKdS2BGsY3tSCXpKEhJ8UBcuzZy3O3NvV/0xYE/GuJpEcSKYMPJ9xetmCIAJEz10oBMYHK6sddXxQZWxTNeBR2RNXH0IabFJ+cJ/i5uQGakiX73yHCCHMyLlizCMUGitUBNkmxp5+ivuggpbrRBUR1BLcdjOXi7B356CMzRIu8vvidjc78Kg54pNajXeark+x4UYTQMIylPFClI3NJam3M7zoc2jtrMJfuyKGO2ndK1rF9dcf2eW+3qE9wdJP+x21Jed418aQMKW9yh5gCPCiml1K+S8uWFTtPcNUxnr97h3K93WKXIpVlW6hQpSEiNU6/7TmnrYtsQaUCKa7pcPbG2ehVhy9otFrTATTdVjMgih9c17au+TMER54Vn/NBMar0mNqt2V/FeXhWCZkkiepn2sweknwVwlHa8aQqPQI7PkuTW0LwjwUYwkF7sv7a9mF2G9J7PH787chjw2aDhz0YKp6SiLhJwNeqPXr83DjhsgkVSPtUKldQXXn7g5qkEUj1e+A3qtJ6Pgq8HBCfn3SggPp729/QjHp+nGouKxwBMI9Nj/YlAckXWZT86h0zq7DYM2NMwW9vdEmXYkB1mhvSIU0CcMuIkrDzUjyYwfduEgKwb/K938pGfmh7OTTyzEp0q4cKc13oDEnVhdB5upwg15sUeK+k0oVttzAKkXodgxFYQtxfIycxB6O0whGiDYOGFbdgucMGm0fboC6gZcZ8CyFGZOM4BK/+Asa3MYZ7QC29fxZjp7EON8UVXrcLf+HYVqJBD5KbDaAZ4SPRV5csxlG+clGayypwBsieXcsjNDPymHqMmbh0aDlf8TIKjc+YxinWfAyHurp/9c26BFW3YaZCruQc2McEN/AK9QuhhHemMG12x9gSKRrybjcc3L380RY3ds4aS2Fb/wPPmiu8kV4L/gdZpuK1b+CFHY4WC7ej7frIn6cqdRnGkylASKM0ES9VVUYqRHrNeaxzYEmU0PfsthzulYUY3XWd/Xzm/fSKYVJ5ZyGk9lHSIjvN8Ek1CM7xy4H+i/jJjmjivrC+ctCw7uq7j5BMSepPeXel823yKWiyQnXlvJptn1rJx3LWYkWOtlW7CXCu9f+9WR2Yfp2NdCrEoMRsw9Ft8sUuMYfFjta+Iri/z2vnNkpB4zyLnLvcziUKJgesyqgBj3VzL/tvjNa+KG/aM98uIM34KHzm96CbToWHw1vKkwgNYbba/PeKbH1sKQSXMoG+E0ntd7MUDh4XGREZ2bo0g5pzYNB8+ApFTrrm+SpAkww0CyS591/OMDKjjmPS475ANE6sYRIrG6OXqtmeTFk7ylT++mzGIg+tHK8gJI01g8xX26Ae4EVAFj/8leN3uyo3XiABvyJ0RdvzhjSOyISLjw9raPTQPE4T4Guyx9kHuknbswJSotW7sfzGYgfepBAC1bAj4kz1Bg8R25N8URYvkxzY2cU7SezL59wUOQpalM0aDFZAVRncoC0NI6g+wR7B95Pl3geJ4GNDVurS2OYq7Dm1oI1CZ8yMLkcmGHhDtFrqC2puVGCSZ2AbvW89F04zeF4PkkpMErBxqtNOQGqgshNPBub8qYXiAKsYC7aPm1OWCFb02Mi4lFFPCa0uW+UHRDC84VVrj4ed65m9L57SiBNX1QDoMYtfR9H4XayQyNL0M3hnGF7CtOGPpppr4hPU6Q4g51k6bI9iDWw9iD0cENCLzNneGOmUy5RvrAeY2Gp8NMdFpsug0cPiGLdQJr502U8b3KszqGmEdcleZhJPtZFwoaaDt8QWHVUFqOEJ0nO3tLrNAEUCVX2hLxUxCb4U/xto293zrkATUFdlSv3uadtbYC+O+jxzJECNqGq+7Fyymts2+4A995uI0a+nyFR5XwVm2EcJRfTWmn43Sxm29EjLxk8A1F0gdCrB6A768R2EEvy6f1Hq0O/8vTPFqCtBW/B4+9ikkAFH1z+I50Wkc+cct06ctI50ThlgAxtEt6QhCgwmRA42SqG2q2oBngrfanoZMy+Xpwsl07dIxDSUscuhO70ynD/bEWb3EsGHUcr+ZzlAeX5i6fhxj5qXnVEVDMFwD30uKKTHDlHor4Kw6egGV9Azursdi+HIi9e6sUYKqwS24RaQPpkfMYn0rMxgkU02ZQb4cf9zE6nd7060WmFhGft8c+HdMsYizIZ+H+X7wkzhGib4ku+Qax41Su7fbxE481N/vrTuwpr38LI6dSmhwkXMpgW9vNZlWcMQE4T8rfss+r5AlTh1xuFbZp6hbnhQDLXR803WLsV9jgUjJ+uDhLfWfx6BrBh9ISEkXeqjYRz43UZf3zhHZHI8Awf1Shp6KJ+rhEMbZmOPiP9C8UvurjY9weJCC1lbeLxS9X8cCCl/kYHmdiDDXeauThzOHW4qrblFVsirj4lt60Qg8by0LLlbPVM379JV0/OJreFldvtwqJCG7q7yLWCsCQm/NmYFNZ1S3tlSC3Yz9W1wl7VgsuXDKIpUVBV85K1qphFMZrZPlga6hUmztslhKh6RVwSxUb1bwmMRe5aFEoNbmdR+rEQQ25Bidkre2qGoZ2I1UBR5jYLBvGnLnlfCd/WImpYh23H4v94117InKCNNCh1PeRI0n/ZGYtxXb4Ld7VuoCEfJ5wQPPrGdFjOWSv7P+jyn2xKJbHI+h4HPLyYn3zb8BDIwLedZwscGgmZ6zFAOpH7aHVEUDp5AIhlUGqojyzsR1bKgH4868es3wwfa+aCvSVbaHlme/IgpUlRUOvIhPUlK2F40WDHPST4OebGTpEaydSIaZLSqdZuHtSukkKiiQBb7Br+L0YUluzy1OLHhqzUfraLibuS6le3OvbJ8oe+HJ4DtdQ5MQ7AfSME7xvUXlT/ciUaVrAhkxtBoqaVrgm9X143Kl6uFJi4FoBiEuwrjEa+G1OXOm6d3jjY+rpH13PIR22DIPkS8TWPnIWarWPsvw9gpe5+HKTrGJDMy5TBkb2mn7KtSzT5jO1poMzsNwPlyMg6kFhUfiX59j7jdSlAj5oY3CXzxtQFVTUM9+Fi1okFpdQMX/nmghX99lIT/Z/VDO/yC/WkmwFXYgL3wZF9f1FCAk2t+wAAdzwxTpwQ2D3T4Xdl4KRdH3ojzKlT0vOfExosYbAixluQ0/cwygHuuRYNPAGxS8qEk38gsVahTkCI/5PVKAzYvE5AJ01HiD1WBkWHgNyJVHiQ5N0Y/OtdNM9FD1iPbEA1udPJkRBSqjQ6SkDLtaEm+Cv23Qq/zw+3atmhXZ6IGjFzkNQFMQa12xff+jte36M43lE+Dyut8nS0z0vjPG+MJXnLhLI+HF6JE+EjmZzl+LXcbKfC5pPfJm4f9cjfUfVSelJOgZ+5ebBWAD4aKI+FAsO2MXpW/MfBsmld5o6vtnDFQiUST77RmdKHNZIQVtCsqS2s2Tai0LX85OrHulYMe+yac4A9UzjIjRvgzEz7p/U2c7IyLNfWwWMsbZ3KKNEtBHlaFmPH7SnCqo8qsv0B5TIBhTYJjBsTlOh6mYCSjstKAqCxZI0R+eJa1xwiHMjyrfvt0Tb+SAK11t/j/a9QbXtLbUaZnF8ti3m1+tbGG8arVw5f+3nABMMYFL8kdo9rxLUu73b+7FwYYYtsY3fbZNbobI0r4jUXWoRgZLFVJ10kRhhTMtLgfmtag8B8Aw6gthtCW9/vToKY5yq/Z0d5Efdb1lSYvWv+tFU74EwxBSF5Y961ntFJCxPAEbpVsVNVc4b5OURIf0e7v/s7YSZ/Iq0B19JcixXuhQo3nyTtiU5XWm6gjhvHzQlifP0TmHW+XxU2gQ2Xl4hNtDFTmlbP2GxyNc4EcJGsjPruOhn6m8Cv8jpHPpzwhTJflh2J+QoNgf1TlJJMJXZ3Iv5+xniOcjALH5DAhkDkt7qzWYa2QBdcolA7F2S09QuAoXoz775TOMOnik8D5+BNv9iRj+rtSYGouyxF/UO2/AyilOpuuDSW2e+mYd6R7x69E/jd7WJv6Mn35QzfwGeYa8dy8vJ3DAICxJTnOvzG+NkGAkt49YllWHBT3rjj/ZvKdohoB0Z2I6RrAYnSELttMT5bNQsTXRhBYkyZV3iEonQBgU/EsUBrLpWEsV51sUkRe7PN64Kqv/kBj9HP3h1hso74QU9RwR632co8qXb266UU+lqFq/YFvU1Gunh0R/whG2NAy18ibDKd16WGeCrB9cfuQyN0yRf7CNAP5q9UzqLruOj2IUH+w3ChnkT+K8wK5VdXCVfGL4KElel2DMDiI0lHawjyP9nLoFfqT+y6/WHkSR1Tp/ahzv0lmwbOYzgQJEp8jCpWVdzIRRLrQO25garnHp1l84N6+idXdlqARhqx1jcttC5c80yB0zCTM9RypRq7xVHuuQqSlctEuqzXh2BcpyPj8IGIHkpOC56WhK8HdRDNBseaEvWVts+Q+knhqklhCSsr3Y1EcEuy+RYtOeR6Z4Mu8M0bxuHDnb5nW7q+7AZ5cbaE486LKp2VJyc9CpRJaD0PmrMOOIp90amLuGeTdB9tZfFcuJcUlD3so+iDcFBCBE90hxcDtf9dH5FyRa7L4IsKrGdpcTSAUZ8H/FWmAUk1LNkdzwCo/c9wqw5NTakJC1q6yKTcITfA2RRtFR12gkIErpnTcfhZTTtKEsVRd/lZj8YpQFZG7RLS+rZ17WFWiqSnVCy64PqOHP2620HxUNsfXci4WnbmRH7JfDxr6FBmID5x4rMQNZd8egOWUk41seVQkPheLkwDfI2BiwrPFQe286TP1T31ZjXUA6b2qPbRYUjc5enofoZqWMvjJmui++AJlqDlNdgiLT9FzDsMf4F7kP01OR1+Lh52zbNhPW0nYfNxXh2MFxW0+2m+OXf3HPBU5qQSQlPz+0IedRAIog5Wo1UlFoB1v77AreF4VCf5QsH7ll4YoNiZw1Ed5t0Q8VTSb+LKcmDvAg2zspB2yY47UQOvHJ03lbcHXifkaLLQDuD+RJasK24w4cRMQlzS4oIDEW/2MGQdYY5FtdagZSzcjeWX5fzI3GfrdvMYK/UuUdcLQDxBdk1TSaOaKF6es4b/yWjJ0z6U3zX2F8hDrYOAopsip2z1YLxn3EuUQoYvzeA36Qw3VxRGJOpMyN3O64PPL/XhowGZt+1tPUADqLNwbOCthUIVIPrSIMQqajl6J+2WheKDsRZ4iHusXVD++NUU/EBbMoKbuYzGhKD0kkXKvSOWvGncAgGbxxVBrKwZVNjpiBfSvh9vhwuIr4GzeyZ7lZRqdyy4slkBn6J+p/Ep5Nt5Qk1+kCynz6nx4LcifCrh1m9o5uLjfhV2jkRlM4QxaavzfU5VlYOiMOkp5DECJDFfofGIzWIUVILuLu7R6yIaxIXFsD3JK+9sgKfTdIx2CqZ/JAF9teNj0zlIJZRQwXD8Yurmf8Mzt5rlfoCXalqkdKuKU5gthzld8jEu15F/SJItySPqIrcAC4IUbjo5M67VLzVHwxv/7io8nCsmhY7ZfgfwAhepRl2cZ+erI7kmFyIfxsMA14HWKSV2Zuclzy9x4qTQE6WG9a0tzjAZASjeS1EXFcoiMzAoDcBuhaXJcCIX3ceebkmSseOy9El1IKDtGUrex8RO2gZ+DC139Fi8A0zdPJlnzNvP7SE/8SBzVU71bGD7KTwBLAA+iAUWXdWjJad/dlX4NSHwAnRdYH+Nu8hJomcGZbEDVGu8f7jwGxncLFNWAuzIw3FkZUedcdclbLk81Nlp+dKWMwx4aqWb8kIDMm8Xb6pSJK2skkYXT1FYlX+iieHCSLjCnbZiokzjKIYb6+e0wjeb3CpILNZBTSYGhNHC0CiPUj+FpZ5j85NZkvs1mXxyWKezTadWxZVDBl9Dj/NDfU5Vj0evmBAu3A9lRNC6l95RCzbqIWIG29xkK59bHKxJc+lS4SrlsXLiKPdCL6ZSQU028MgLdbqUlXU7akoHXFc5sQefz8PG/QiE9mEpkuM/jARUscw8pqmOOHeEwFXAZSjAcpuAq3El6Ve5KhKg6/qxTapOIGVftYjN89qO1wWfwx4DRHF6j3BZSRvUcqa9FN7KHbOsbyE0sA+2izn90fSscTx+6PvhVxMh0jLd4xm13/9JQxdnld8ybEnV5OKi9gT4mbz/aZ3ZStwkDCbMsUFUncooWbALjbxO80zs4k8FVZEQLyvrpYEQ674Rf5EdVriWMzfpG57kYpvlWUUVTs5GnIHXwgE1fp1n5XR/4/Nz6+e0fe/MibjSIkRzP5ywcJvPBWAPyLo3rYFngPwXPqK56/wQVxp8W6S1JajJe89SmvHG6Ho1D0hOHreS9J9BsM6NY16ncM+vaJRX92V50ArgNs5PeLYh0eb5KQUbw1NnEf4YfcN+/94PUxeKAYOYmgg61yJ2bY1UkILIQM/tGjpVDMuihRG267n8jwAlIA/u/m6r93pSRM8i2BepaIkpTzygutZY7ISxrpXodYOH+lmImEY48MuG3fWj7cBi94xnBQ+p/3qMRLVUI3CCiDULM46VrF8ed5VX3kup5me9Ss5x9gBFTjAHwwLabSMSp7Wf52+ziHBqzEkujMJCwCt549YL0SCUNl9HutH/H+OME/URv9biDEgFjSNUDRga/5KfFuynQwOp67/z1D+mxOhW573B12Mr+DLkaS2dLFA0e9mXAW9Y036FC7UgC6ZZbougAJ7bYNCf0FtUAgdYDVXT7sV0mXw1niQmtnPSd2y88nSFSb82lsmzuqpAKEJ05uX6DtD9Akfb7UD0NdtroVqdn97OJSBpm9hVgf8CfQVkFql22CnaIvhMSKnNRmKoEQofdyBqCiP4eC/kP64SYt1jfuRr/yW36kOhRZY1ItDCEHm4sNbUIozQCvihHG/E7bNUjTY4RNCO78WtkCnM8KXFmg92DYUqp7l3dlD4gIJosic6Qbik28ML7BvMusoDXZy7bZzFEOzsh77Jm4s2UVC3cdd+VSCTLxQTmnn2ghHs1mBcOWyUmj933K8BEZ9W9gc+1r7iK2puYKjgd4ygHzdNxGIpjFeNMdxb1yPlD9inOguihSvKEzH1X5hXeev9k6ESjk97vxxnJb43fgukpkDT7vr6RoKX2WlGnuQ4ImWWxaWC67xCId2Gaihr0HaPBF8Nco9+PY5Q6MmkfR0pIo2/GBEFr20ZB6Pb/9CHLjW/UrrEG5k7Q+r3BIVsGjWvNJ5L69NcHxWpx9xRruwNdgLuc3e+mcUUaEEV4eiXpUhG58I5ryVnjE8QH7MFwuSPzrTYvPUXlRzge0NJIBG+SjtnhNKHVBZOLNWTnA4LLIkRFeTYXaBTQbGJQgBksgVOlNqf9iTtE3tcw8o/i5cM7wdo5dC4NVSc5U3FjzDF76VvkVczlhWUdknyLwvmUm4RXMjf55bO+384KPkcB7c4LQqE+662Rz6bDFfVpGGSXLNp++QCeCkzAnzV9M3w96glDFUdug7/CNWnk9V3WwEGp83WhyujA7F9RJf3bI8S8/YesHOIgQ2dqi9RI4nZ3KzYTdBZ8FDDxad3XCQY8PTJ6KlajAuz5U9zHZfI6GQx5/P+C5REjCFU72JcCW4YAGfs19YC52hLRbx6RYQY3WzhvOpaDV08IICsMs2T1wIaav5alYS9pOQwTrF6N7DL00JHXocz4rFbhQoRtrg5yYVlM9al8EU9ClOmrLsfD6uNBLPD3GwIb1Axfr/+rh2MuFUguuSaT33ac8R3TP79dGsusBA/13RztlO0OINTbZpQ9pvb9Va/Xhw65eb/ZfPvIsy4cAsc4gKPFmRtLUvpvI9cCjLDaV3t1VCEd/Jm0t2JdXRy+sk3bTo5+WCK865zVOOOkE87bIVQQ6UKHDNQEGXLFMMEAum4SJ7tALIA3EKkkAR+C570B1nAWT+j05fnx9/LDQGxMZ2o8hKxUTEYM3R3xfg80vKJpiPFcIiMuc009N348Bjia4UydyEJ8PZ5N04ItzS1FfjUtjS64EfiYDlVcEw9HsKW9X8XPGwvS/YFoz3wkkXrmkawc5ocmBDYp8lz7NIRbtvvuqbGRWsNbii16a7tsn5LMDQrFbqjdUsiW8Qybk7gwsTwPgT41SbzgBRh081OdYNXXLH6Z5vMhRdydb30IIW4cPD93PRR4lwlT8ezv23BgAVZ+y7XCELKyioJHQMctLO+20AgttX9HwaWNfUyPMrCvihio6aJ5bLtqX8xyr/04qy52kUZtp+qRQwtP5OJJAHMdg4UISuotw30ku9TumYLW90MQ2RgT5k+ug/qLpAh7dWDe27ty/iXfBro101mMITvkSTZXXAcZZzCx0EG6jl5L34JZHBMeZArC2ayq0P7wmuXAY6qo92WDWxozZUbl5nzucQDAi5vC5RBVnuubomNGqGd6W4yHIvczWA0l++DYqkjiaklDiyUvnieZ/ZExBsOc/KI65Glm03xKW30a9Cf6561kBhgPTLei0gAO3eUzHern+RrqyRZEilsgzwDYKDrbwLPzUk7oaaJ1t7ijKpLeB4kZjEff8CVrbqLSfrBKVdN4Be+rOobmxCwJlOWTTvVkt6z2zSHi3rcCBGsbt3Q1O2eI5e+nuDXbR7y5RwH1xErBGSRwqdlC4x768bfhtCEayo6HG02ktnhhH+5yZZ1lPXsyyq8Ihn9mIMCu9KCBdd2VhJkZRi/F1Q5/K7R7X0zfWr+L+FXuGXzxbrBiXG1W0zwIyo7HajLkBZ3UrO7wuksJV+6ylaWHv9JSXb5NLuijMkI7EFdb3QCU/WvYSDHBGJgK4CK7P/PV0F3p9cq9+uT+6TkZT8IkFGyrfuCwJKueVXjvhQE9EwSNlevaRZJUI6tVhyaQ5PrlHUSrsVPGIBNeImjNMVGK5c9iDnAypiJSY//l3UriKUvZwGl/GzCUV+Pl0+B1/5m9k5JlhClKbkYFtwyYyW0ie6U+ElzTtCe2A8dU58TSaSUR6mk4AI0gendPBDxH8P5Idk+RUDI0bw3sWPxU+iKGFxCWY/L6zJo1iwo4a71EtZWUwxbpPx3QEury2EMFPzmJJ82KK7kRxZlmpprPyAzq06dMm1psjk/KujwBeC/wONJK0nGkWBHbpp+sWan7heLXDDzeJhBAFVVhMcoP0JItvFXqJf+KnpaPNnSDVY3kqQTULkCvBNcX32nOSvJ26DJHpOn9YSw53PgT3IznKZ2TyL8oHks74NHy/xV9CI7RSZ8zK+zKuUuFe819Q1M4fOVkQ4e4Xw9mADasen0fkpGzpBQ0xBq9OeD9m8ewigEPssTtQ07zB0XMKJxvVEjUDv85zM6WNLIkOhnDPX80gYtLwJhVLeTFc24EKmnFPIpWQbalh+XMZkh/gzuLLOoxXr5WYxw76F+jyc7StNS6WgHtoQqFnm3HVDxqPT44EuqeF4Lx5MtxUe99M7MBrn0R4GFq/6HwkNIO3EyJhsinIyS22qI1uQbh8XoMZFxAGnA83kE5eSY7+Pl69sPW3STqDl0CxTmvYGHZQBRJ6b5l9k0oST5r6nU2z5c0GcbWhjJCM8XUA67AXCScjZplmy4qiZ2hxYN1/ENjo7AAVN+89QMNMNYs/pOnkBzKkg3Au7+BiVWFZKOrDKDgKvbl1YeHK9+gXKqvXFx1gpGyWNdP5nGew3GY8MhXbPGH3ZHxx50tAVGQ/aQSxJ57FwwWD3AT7T43AFDeXaJGMADaA13zEDZm1d0yFbeTs9yHuApj/jeH38g/3aa0R+P00WtZpvAlgF46vHRmqjY/3OIKNzMtyQrXXBFuhdgB/FcWZFsN/tivORDYTW2v5hNwgPMvc4JT5MWI7XkAfoFcGzQlhrA0yvjaJ9yLPwNl9tStIFDlrvT15F3t62hbv9/72D9s3td5GJ6w/lZNEhG2b0wQ81p8AyY7XHmpyx2VAM9oE3UbcokE8UHUxv9wypao4S65eK+S+cRqhDRdHWiJxhnSanMbweTTFEDGzZYW7T6vTI9dyYsripZ5G6hVqde3CVxQxIU8NEAYUWoaGDbyRlXINsb/yLWVkLo+slXKXEEfxEwvVOEWBCVLGsuKGMCWE08BzYaGrFHElhWDAWhicmMYiBfvosTikVeHXwu8NXk+Vp7jlQfwOHbWi1vfbBjBsqmPSzYO3PVaH1O0s0kptmHuT0p6tyEHotnG4ZUjTggZuBP9p+AZZ3c56qhlj9jEYPCyznFPF776qpwR1HqFGz3U6W4kB3I7sEj/B7il9Fo5jQ394NnCOu2EzMHeH0wG3dRtrB5vzZTONjy9qBU8nLe7wPFGDA/Iguq930CBlri2dUyVGWgy4uyiQgx8LdEW6XNdeSTDY7+kak6YXaSwDEhm7eIydMvC3ehXrSykcUAOmkFXrqdZCnkZqQHJI+Ud3q3+lzX20th4JTRYgC+ZYriKHP7dIAx//lfbNexJ8SItK4SLemquVQp8zvG7MpQiryE0at8Er/Zv/lAWn3hGfusSP9v+fgHFgLWp+9BqGZWXqNgMghLbutCg40/X2TvVDeXhh8bJc2VWcdUia21YtmUl47LjZVcepuw5alMstQNCTXYjvVI8Rl6/gtYW8WK2TglicTB2BlljauRJI1ElsUf9pUUp2NfB/kjl8VcUexJ2bBB4JK7RG2YsDjHI2uniFiXZR/nbhrDUcS1CA/GE6JvNrGedWbd1MfofWpAYHPEqKb87svJMKNCKxT3nR+AkPiLkEUY42IFjN5lSzSdfFN+UU04VEWhFi7Ui2ur/8GpEbaJd6hZRvoA8Mv/C4l7bHamzPFPhC/aD7GpAcCEY8HkWb4JvtohOcJ5rxmpZkcMjPXwD+YGW2GeMCYb7RSOvPeAU9SpkCQLEWafSxVwgM34PIantswQtdWEb6jbW0+yz0mjCRkz/t8551Ah+LJcKKvo310wvA901J/cwVODLhZCw42M3ualNfXJkfBCKRHEiMN0lsDVNYJNxR7YMLifeLT4j+oPxgSrYHBpi7HW/YCwFdUZTVHhrPpjEfhz1gRlIi+s2zfa1HyQVfK66knVKJdps4Lq0PGJL7jvGCeTRkCIzKhEh5xbAcxHnGAytcyzeZvCO6edo/VVwuh+rqGahIsAII1FueV4FzTFHaTbV5WSHUcDg7ceoXI7r/g9VCZQwgWWgnSYg3puvSAOfgV/HGaZYlcA2mz5Kgae5EkcOQkx8fF+qRJB2lpiLIHUzDGVA3ECbLeTAZJYuBzwDESogwLVgCMHyoREwW6sUkp9jytpffJZ35PNe2GGeY3tv3byuM+i3RW/zATmREaxUcoU+AtaxkY7gR0F28nmYuFlHzLGdFg8nVOkdhWcGLiGCtsjmnOvMsEFfwqyioCLOjzngE51iSVPSpIvZdeB0ZRrFPBI7YP1bMvb6veSJhiC3SkJEQ6qY6Q0wNWmDU1mq34stmuRkuEaR9albAnlJCPr3taKo5P+4j9xhSIobXZVp8u5rrgmk+0XdC6MVLGI6mWpganF0VY+tncgNEVnyZIkzdqHIUsj5hnIyPBI78VrWkm6aoAKKTXNuG98U+ea1SJjTKyMhW93jSUl+J+DuIUYtJd0h0qMCnFgvBvswTVp+xIKQ4B1TrbnN/bnagFDjW1R6G91MgV7fecpLWE5S8aKQExzMOPd3n2sydCZIA6GO+Jjlw+HbEYDDnUoQtYgeTVA5Ty7XTumxRe1Odf5tUNQKeSogEC3UFfoe6iN1dwX3LeCZzsrH8XZx28fYIb7tyFAHf1f+ogyahZFnb/eQDOn60ZJCIe5N5Mix4mh0M9NFnATM70b4zflH+7MR/HzQw5ExbzzCM9Yfr/HBJff5I5wwwATocFPGN7yt+/qqL7e0+xGeT8+/OQK1qQR+zC6P5D06hG8/3ov6JmkyOiJ2+1SiiCZPpNfFO24fp+W+dHJkPdzYg0D1V47U6fbquRvHwamYCofMaaoPVuMtyN7dzO4c/Scz6eUvcE4kDUpEOBXOgSkgqUVKnHMuTSvtZ/mXHibC/mAK/sY02qEeZYpI3XxBMKDiBj/2LLWkk7qZhuyU6XQPtDSL2SMfdkVveisVF/7OCveaO8wiJx5oHglCogfAyRybgOubo8G2pOTQ0vgBugN+r4UQnvJ1l2t918KQbfvINrWFdH7d8mQjqoed9+XU0D80PaC0yiLQSkOUMbGbyO4Th4kAv+porv2JAAqbT8zmgaBCtgIVTLocN0YNjfCAdbkmEPOJ6S/3ADxBDVz6dtYONCJYiQd5BI3TShpPDnqlfLtZaqfO6vf4w90s+7HxrTy1pRBIDxZAQWB4ERdY0c7pFIenyAWbzZ411sB+Wc/JwqXlIwNCbpTUyUOV8rgleU+3fiEnaxaU6bQJ+jH4lagzieG9LllqNgNNCadCQAKEuLL2FtFUyNHZ/hgEQU4Xtqf79HEzfqtB6BTvgXy7UcseOqNHDa99tMF84QVwAlEwKB+/A1LXLgGC0Op3N+HJHmpp5SSTzuQG2K4n2EwS6k5GAbfI/O9tQZYw/QpTWvM7cZDlWmViEUcFqYcXEFp5F5TMEKbRZ3KTHm7QX5cDHd4V7ICxP1Dqay9SGrWxGiE7HFFwEv+deBrHB+2xeyh6j9TBiv0K9UN1y2fONHiisUVPeB6Y+o2qM1VnwIceWu4IJna2t6FWFakE8SWD2P+pcK/lbQ3d3rk0cjPmxlBCiXNBtIATKyHiFMKJqJLC/Tnv3b0A/3nQnVYn7dXr1CUTHWyLGCA8hIYr3ov5H/ODZdCuDS465Al5O9Ap3nTOdmGtjx3CLY/0Ss3QBWAUNf43UBCta6MdF7j1nKNNdofe3nXG74LBHh7bLbvpgXrSW6N6YnOQ8felhn4PLtsvbYb/Lk2rG6BKBwFPFIPbmAhRZ+DPLl2KF43fgG7fixW5b8M3ZD0LDjUKaJrJxdfdwH4o0Lb039Pm2xfj5sO45QbgZqWlDxqcRyEqfnAAqxWBnp1QWSvsSzW4SJ5ZW1kpXjJkVa8J4t2hl43/4eHcs35VfMzHK1J3STz+dDRX2B1a7n3vSPG2IPe/jRzX4oQTgTi6NO7yRdMRzuRxoA9ODJesW+JELQVBKEwemEZIIbnX0fbZxFUp67ETvmegDmKyodyTQ4tBTtWKD7vuvt/D1G5L8k90Hm2wF5S5UFJ0taeLTJ/c/iUXrQJgbZbDpojlN5aiMfeTvh7GA3BY+zepFvocCQ/q+RbR+lz6Yez5OcagotjbjcPu82JkopFPcatrgv6y17/DpOw0IT6LayB7gmnAOJdUuXUcDiR2j2uTfG/hqMfDRRc5RR2cmAmAfquLAc2hZsKPbkHQDJ7CFxN4olVODxmCsn2+X3yBq56cP+JSLqMFYr3IdDZQUTi0AgUzV95yFjYs7nA9IuW2PVTR8kLBHE/oKwhsdQOmNKHOnhHGyGX+8c9ikkttsqPXMH7EQV4nDUBvKPJSeKqcKMVzk9+BqZsl/EVcN950xfoZQWiLDvDVHLi55VRaLEO7YvGqqkGBluFxb1l3PJkImBzg7RGtdZ/1WdSZnnZ1ZrG7LInsRhE8exronLZsTC8u93QES1EbhTpVlKKJ5TxpXdrGoD4z5YaO/GWm14Oe2cOeLMzsA9RLXrl9HJkcgCTLtrMPaRCbB75oMmVj9k0E0gJSZb+k8oM8+wgDLCVDWlGQINGcRFtwvjVAklLuX0qkHMb3W/MqFVBMZvs0WiaYITGHIrYgg3VZFRgZGBc957gVaZxhc/Dmf4tIbw2aM7x8i5vZWNTuaiAAYMmn9tWaPemhuzmfwxtUsB+i5Vxg/SMSWGmvdKYGaIe+gl7eSGXg+5tYL1uWBOG3/gHk+z6VaDnuNENorVfHCa5XYvA3TF3CjVxHpPA5IpOCVhXNU0XZSvoGRcA6tyP3AvWWTJsxit3SbALq/cw7GQEkHPlr2qFozdJgDLTxdZ9j7oz5gsgwWP8fzCbtqS0kvE2TBflo8+NJqLrq23jYSChkqCXAd5gUFLbqjvUWSvGDO8QOxYJKDY4cyFsChNNroRVVWl10Onj0J1fhc9xV4mIF2YQxak914Q+VUXXvUF+321u8YizI3yLjzORVcW3QA/uE7P4+akI7IiBELVYQO/o7+5KtKJ+2O/s7boQksooV3VheUwxu13NvBPX0ZhLi/mniYHs/gMxT5NSX0B82ezEVP23XlTwMluV31j5JRPprFCDZMlxk3QDB+mnpZIfv524nz9VYibm8QthhQL/VtDLD/DXI+8kizp10AQTmizTm/+vJNV5k9DLu/opkc+k8GKcSajGILKgIBldTw1UjP2wJ8Qkp6eHv6n2CnmT82w/9bXRi3A/Z0Ti7MuXCTuQvQLzJRgryLChERVgHE6i1qxGTSDPMlYeJlMJkbX/oTS27Z8LufAcjtR8gfd9hJ/5xlB9rWshso1cSUcJX0Ftwd/cPx8CXHr7HCvMkEHHkTod5vJ9CPcQ6J2x4VFu2pgmN/jJeKrg5RX/odHmaxCSm0IHJK0WBAIsHWscPCNxG0qD2NSYqPoTKJhPcfpixepHFM/KhEdFenaCZLeY6usX2a/A0tc3A75E5yKM3DXCc81/2QrkDQZKaq4/GCeKCZY3DZWKEwA972XAoAINsXR5imaN7Vged4krC7HxPypffd81JGd8Sm4imxgSUJhPhWUK74PihdD+PHqeyh4YYGEVYPtT3muU9ckTjT4hY8A+qwy980UQyYb0WbQAfMzFrrLHA7hmh9a28kZ097rm6Wh5Ewgoyi8rf0+50pYLFa6uV0drvbS4udAHudIrlecLyIfDXrqteC13/ranfSr9viLGCB0yN+1OrOkIqOufh64YcEFVVZxMu3lvsIqoHy7KtuDKMnbbqkAXLgNGUwBykXM7/PoaNmSLo4PuYqOgMXqQtuqM3HBX6vXnwJ+VaF0w67kR71k1ryrfg+ppVHgBGujZ/tdIKrrWYKMCnTzDZZz9wsg2xyY/8XneH8/C+ecbkrFVj8fq4JtJYjaIKnAoxd3PUNcESDoh4YVg2BuzB9JpNwQN1VAfv0Kwa46cyipHZscG8KSwPKnCLXpHZxv8iYJIZbJqrP5Y5vUAoyXFfo20AVgocnswy9taLo89FnJ2IWa7vJWMSXzAlva8wjXwYY8GrDYsohsZvK+3haYDtJRVw0xh4cT7zt2dVqH8Vz5ar2a8h+RRshZ27ZXCa8FKBAag11D91FgHnip7kkJIQA4P4e0GZUQd/fUk6qdHYXBzlxvK1Gl+knZWFMv9sB6SOFt35sTrEi2sN8hH+pjOro+FAONp+OoKQ6kgBUVoj2rz+OG7GqxbKsgFRB3kkCQx2u1c1Rs9s+9Lj2KFiPCVRJZJRYUxwbN94wMbCxZhO+u9VLRrqDKk3SrutwEwPw7bgHsvEPFI3tuck4Dbbm5O6TlblNLyDqsDR8r5pa43jiWIlfdt+KMy5PCFp9tzUan3p1Hm6lw1ltLalFiD83jw6yfrycgTklnrmgIx20fri06FsnyZZlPNJsgXkxIwg+eEaBfSXLn/d7rNCCfbTkblA1pNy3jhDvbv9YNQFe5QLdm8JOE7uQKiVYoJa4+F22N9pGkjkTP+4MvcTv74N0cxwgEpc2I5xoQppS3xkl2terJZrIiPAKlcEm/iOBPv1ZNWqmaTxtRFQGAROANefXiwTWr6fSWhDIx+95TU5jr0Tnvuydm10dHnhn54I8z/KQjCi4E9isCoB18IBcizsdrk7Nwg67+WFxqJ0KG3ZTglmy/cFY+J44Qwvq7/D6Er076HeQawp4zg3f+I0f9PGFr3/OiSQPs1cp2N37eipjwdZ2QvkWhx6WwbgpDUTsAKo0sJv4v91kuF5CKxwRAFBMwR16pUem3rpoboCAxqTj7rfbDPuKowa6bJKcmvqAGOZ0rXXnNLa4LUCi3rv0dHS/6obkc1tkYI0PZSYjEE2/yT4GJLqIonhBqYg61cv0SjotQlIF6ZMA15F30quzn3shwfQX1jSCM6LCjTcgeiA3MwUHD5thFFx8BC5Heb+iVPx3dlsnJ8CEfio4IiZOuirEkEDV48Nvr7L4QfkYfcgYoOyCiApFtelVhLbSsegXatnxCbB7UfnMKFOLNi0PgPwVBOe8k9SZjpTZKF3zIA4b3TbItqMdggwS5FnX+JIWcZzipihdlWk3qt52lpEoB4u/Ndv+2PS21Clv2Jct5jAun63+NUEtw4n9AYQx9SBaNrb76U5GUXtjBO9LdDxDfVv1/20vB4djs9C7pBwx1XSaQb0XpbjRcCBqH0w80r6Lf5+WOTX9QA1CZYQ7rD8KmoaD4rrlzb/DBKCEvTFt1sO70K4lU1W2e3LB2O9l42vIZ1PBk/y1prc3G3szHrqbDbERTbkxCRNUeTHOvJdfRzuSMOC1pTBgWZE0b0HhTtID2ca4lZ2h1SSaqF1wSMPFZ5Xe8rMWfpCaTeugejFkr99dsXJMV8Jzimr4XUyU7V2euoAxJCiPEeQ9zaTQT/mGBc37tWIlPRkW9oHMplhriOo9SPQVAFlV7MtjDBveVJuU7GKpzy1/SLghrRC33rObQSve4PNKgRF3Kvb39NX17cGVpMBN1slA1Qdkjy/GygDs21jCesCNsukaM8Wh/AHhGG+m5IBnnIdpIJmjjKhd2BLeW21+4RtOnL2cMTClHWyqPEhPDQ6+mkK3thvtP3Mm112qHeCkQrhSWb0iBPhBJklbco5MbX4HGMzQ/B5v5IYaTcdSqIQlii8cEyYhjiVYL/pMGkVmXZw9QY+hgmYmRe6GUxydlVUtLVbCIeVVmlUzNvQCuicou0DamD4zo600bNQucZqlxhfMLuo1cXyyQ2xRBHpJbn/eivMA7NqiMR0LgiMDhUO1AQXb36ElVU7VAavEK5PZcgfgm9vcgMfSrymUP6DlHcRE7gmGn8NfjckD733MK7B38iZndtPuKKW1l3cfGtEOgl/+vHRTcZjzODjCoih6kSbxzeQTU26DyqRWSPf1G6sAJK24Gf/E4BmxPlpWasb8ziyQUKKzVVboqBeg4V2BrdamDmMU1SyjuoCv80gMQSyEoflX4Lp/3rZ/r29yYJepmqHgPRb8glLZM9OEtp/CKhTuRzUKJpTjEGODSrunTPTLpw/yrsmDPI3L30bUT6EbjvlUHrQkBTWhOEozHNJkpiZELLsGHmnBwvkMopitQ4LlGJZu8+y9y3jyhi8XScZwUvpJlT1knxf1Wj/c7hhiW2dl8W5O/7a2Am7OoFN+eoN0qxP7IfebB5uxANZTnbPT5BxUi/1KT4JrLClzP3sEyWsJKICPQxisBDFCzhbvn5n562e8lXiCCGc2TsK2XMsmbkJJBDFNXYu74HoISlTszbCjOW9VucG+sG0ALoQysnqxKh9YLnE5+yKTT9fP5OaKAwBqffqYdeyvMz8f5hqTcGiCZgmcdhmj/k+09zAt+xiH0Lu81ussxP01mJUF5HpwkuWDU3iCpa2RsS5cnBPznmqrjj9EiXsvzojCK4d5bcN87mUgu6bAE0n9cqUO7hOZODvfR2wBLs0LKzf9UK3LQ07xU6pbAu/Ny3RED7uikaQtR+Uw1Bl2C0VRIZKW16jt6tYZyBOxa8G5mfSrpXNbfqoTn24U4E50PGVgwyXPgdwjYHbRuP4KC7gjrRx/WjLt7elsJmu+/S9biII1fK0HVo4g08rZCQ8OmoWCkADURIF5AMRw7rSmss4ENoOz9LGupqlI2j2VPnCC6jooz+nhbIlXQCKGlslbSXMycPevGr/vL79m6KN5SOIPdHUukmB8UX1DbvrlMHwf0OiSN8/QqE53OaVbrinjjoJU3pE9Yajo2CcHa+9vPqFB562LFkzZ0Mce1X0RQK3WvNcgW89og6OTEk/GB2EC0jTYvddeIMR4MNK6GQfCWPsQENa19vLshXAMxy1rwH7ZZH81Sx4Dshvkp/aT3S2YISadEsj5dACyay1Ad8+VNWEjEHQdH3VmyrYrgV8yYTw54hDrAdcsV3vdPVUn0TkOFHujZ+6qgpK1Xt7p/B1yms97gwoSsMOc0S8VCHOOya+BYOykIE2knMTB2Id86LVyod1JVye+IbW233a1c/QjUE/CYJj2s+l8u6vHHK4A7myiFj5JpRpQwz2+laeu4HcUWE12DJvK1YCikX3jOUeMeS8OG3pMYQ2tIkvt5M0BQv0tfzIC7ricoqNIFrFpldyK8uh7GzzntPJB6xSpEOqbw+gnsQEUtsknk2LVHA9MH0imo4gWWvaGICBVBg6lusWmcCUJHllZHGa6N1wYftmIQ9N5MGZUYFckYqYxayRKNrMwkXAqjBJgPnJm5d5buL59+PrvI19V26htuEek9Rkb0CZ3JIRelz0ZY/WmsXtp1jReQmL98DWrsiijxZ3yxqUYLV22SRVtD4Nr7V+ebqfTqC36SgoQRVr3OA6us3kLmL1u/Viq6a/kHD27TpgsIDNBHYC0TuZDGEh2Fcu4FptkbNr5c4Rt5Z6SHx5RuI37ODXb787qEx+L+u3oh6YKNZCA6eDTzqx7fjABxR4eaS6BsdAsJeSTNdPpnA8GWmFX1af3ASh8vVNCckVHpgqoOfpGkeYqdm94B3tFf+VX8jMUYmBfQooxLy2l9pvRj2av7chAiQ+UR23a1m50w77AxtmIinZp7B8AQn/AVuPTFKrJbkE3hdhsCvLy8p8cYbyAp0Jt0pFHQNS7/0dmuQHmjnNzDtV8tpAai8TF2L3+OxgE4U1brYI8d1N4yNHI5RDfOci5/Ie9Gttv8lYGZ5pfYHva6GK8K7jwKEubaW1dR5MjhIcySOQUSM7n+lyfkAV8RjoKwQkHwZoLkOHarGfs93X92G+SlI1AwExKYnGsJGBCpbdWLNW19W7+KGFj+D8rXSWth4Bo2kK1ShQ4V8OHDOpr84vBkPw8Ty2i6kGIsb5re6KTOrNZOUf2fXVeSRJduCOIsPUNtu14kOMPjH+LVzKSZViJNRizUgNaByKmeeaiIwIYjyxfAxFK4g5M2rY0c3uR5jtWM5UswWTEfHY99jSraJ2JGGwjGAD3l1HTFYJ450ShzjQbAWqpJc3bw84d1M7MXMUHQh+eEajelcznY1UEvss3JaymGMfxSIelvMKiRiV1d6532+vYdVgTV2zzEsAvsUwTUQGxQzt670lTtbsG0AvuDrWsjM7hcy9ZQz7mz8wBTa2lQN25QmzikBNg0tnjj/u1r32YnldtZ+lJwYbT691x9lgkVKK/AH6Vg+VLzzXEjq56JTDDXWRaI1zHSemx0T5/c2pev7O9VcMcP+9vCDJoGLokR4aCmJSZ49joFhlWAwKBP+fPqEB7917NM3ZNI4dWyYupcAULezzQyeThmlEzzhgUkfcOurlN5IaY1veyVV8Nh+hFz2Y82SBWeVHtpZqhTMUkjiT/tGpaeAAIQlxlib2dIVfsdKg0jEMfmI2kh/pQVLvHtYkgfuRsSydgPIfus44spFmIZnFeEmDP2Dr92tXApKyGFy22/gMdgq1URB/FYJSHoyCJKFYmkf13AlOjEWE9VM6U9esDyjxaPGMax7ut4A0OQVZl6KsmjiQFaA/eZ1NjlFZwy44jkR1lQKgGrgM0NxUzgaxO4uj95G3rBoGoFUdckfBeE5VOzN2NQfAdtAsamXqyExrhCNBFmOv8wG8hfcpfRhrdFUy26eVspEHkjQCv02alahSJVAzPf/Y1STSc5MwRHHMKQa+AWh6RVN6UF95R1IydtMyfXNlYVG1X1+fWXOOTo1NcQZCiCLFbwwPrZ2YonM56z87kfux5sMQ6h3RtPOxK71CKQ1UMlLGqhxnPXtpo5ADxqHxzr5mOYjDykLHTHf/gEHJy6SLgImAi1LAFM/ttv8bVBIkcrmwq3IKi6sd4r/3QWqHRM17IAKqzUBy68gs26w3fmQD0e/Md8fDsbGaytgU7FbGyp5RiYJ/CLDjjtLw632n+zvlZmv3FCe+V18e33FDmLV7HELKss6ORprWIUMHdgbkpLWkqYb1z6QvIND+7oOTL0CANmR3+QG3PZYmetyWbc17IZFOn8XBsAP4Gl2OBWWuY+q//9dBtQVNuLiWRzND/zHf4Ut7FyJ7mevNeiY+KXBo/nfQMA3fGD6xay0hkjTFOqlsLw/ykT9oqJq94WJ20bIANxyM/VFWX6s3+Gj9ygEcgcLbl9X8C6AbTtbgF0ldNVq5mVuafkkywwVwzx9Q8QrCj/bufvqk5ZMrt05IQFP5T6THDyDLQ5S85Rt/cm1go8iMXffGDo11XaSaCW+8k0J0vPRUJeNYMIOQjL+X+NCG3oZ3UFQ6VHNi2n/403lzumfukUSFajYAUXkMS9+qerKb/Yrh6x2Qq8aprUQ41yleIUW+0KcU37owNXmpNmSyT/aQD0iqAQpNPD6KqfU12LvFDC9pU8oy4YZguYX7qxOBdGsmgZtSSIlqLbf+TglpGlSQl4FFfd/bwM2CN2w4oBPPl7Kv6FJrckYoHrIsv17fUrQoflmyk36fgCKzPjTSm22p8i+Ayt+ysoVuesapLMnJPAMg+hU129Pxh9mQP3HvrWI6zFMYGnFzXOP1Stl+40FGwlS1lfB4qaxvkOXI5/JFxp7ssoYuw7Nc/3NS/MkW3zoQSPHVLoTQZwfYXELh9kJN7FMb/uJ0LOdjSNMXICJ6T76aEX18NOQuKiOAKRV9haXdnOeGfQ1M6A76SgpolIiZ6ExSZ6i4n4Do+mfY9STMcicoVibJgTKsIoK6SO+lX0/Tx1btfUvcHdMLJBUWbdpvqLiWdBfyCPaKSqA8+H/BkQljOJbld3pGNsM0PZIdxCUp4LBlUoIg5oLnJzT2kRRGGOcG+B4EamJ3ilGetS5vI4+eZDpOVgm6WEGccc+3SdogctQqAuwn8cdGlZWd48JrArp9t4s/1eqEj5Tb94FmWbAjTwtxEe99UFOQyzQZNZdrWcPHjE7MN6TWQVhakN78Zx80O26H7Yd64LizgfuLVCfBWgFdeFY5z1Bwge2lmDmIqv84TXa6m2ZYzjceoDlEKotnuXlod7upIvAT8bXWdzyrad7EslzMmb+RuNuHkRTEaoqMEwAUVX4kBocpUxPtLk+amzYD/mbSa9KUOJJJRrXejRlVZ3sHrZkUAhna38rsK6U3cqq8FOCjwHgL8oeVfsum3lmpjTTx1ssByWQKhDLaGt/4h+Vs2PjaVgcTCsl5iSTfwHPef6ZmcZ1t8r7J5dpjHJQRZNVVke/AieJLM2WYnpL5BY2wMoNZ9TylUUPcdF8xJd1Rv7XWaZS6VSB3FhJzpcQtBOIjcid17BmTqa+s3YheqKECCcmd0/Y4N/u3uoHaapwpfFCfmI/XIfb8vL4dZzD0VzGp63KPlOiOtBQdMDozCiKPVgDVO2fBgUTN83X5qJa8UZPjnGItZlJ1QdnYqulmGOyiRRmZRS2MAFH0xjRtJDs6Yp9ppcUJ4xZcO0zt3UOaW4diyNY2tUe3rHZX6zlKGQqtR+fe7agt63NpM4nZHILhqMTimeloZXiS1I4idLMAr7AlSYsb63f8JJhUlACqtRQR6JQUyqAPhW4wMgJ4ulKnR5m7Yq7lSuXm0QK/7CFtA7xN85mZXWZzWLbERfhGPcfj+eFbCgcSR2gDQwFiTSBB8DhH1xNFV6BZ2qczgol13C9WNMLCl301zF+Z59qC9AvGTEpphwlQf+Q+L70cTICSZg3QaX5bkNpD0Kxx3LCO4fe/QPSojn++I1sXtjeLrMclwwn87m6WEnjeiv24LF4DGe5WnyiR7mPfI9V4meTy7k9pxjbBR4yHTRUK4FBX3EGncPkA0NOb9CC4Y9LKjBEsiir7CV3xvi6uUnaMQg5lStK+k+QKGKSwIedbQJKG4hsnXOs7uJoYX/fx0jeVkAVt3DYvTEDxmylD+fcBhtIe7FDnLuGBe1BHVIzOjU1kaAT7e3t4930c835tFhsRucTPi3N81y8ya/04rguBJhPQBtkhuMz3wcKfYDbdmT3ZGGQDfaD/FecdLMJ6k2rr4tvYnJdU/r+b+yTuEGYvCNO41QpwIeZL9yxDZhnkwtwQ4FlWCsrAACx0vmt//IJu7zLy/45yHBoHbBzhmaruszmCrageeofg3hY8MyXAJlLXe4jnvdHg4QoBPfx8n3iBQff93+GhJPad4FMItYzVJdlHQBDXjCg3/U0dsdenaX/ihCvZd3eplzlH/rbavK30ALVFn8J0nXxg2pW5LnYT+Bd3djkpsAyR65vA+EkeKpD2JjICKslFeNF1XkXY5PY7cZUWc8AnD0lEcqcCh/AGKLpz0icbgZ2S/lqRVUGyADfuWBAQF7fQ5JUyZWZx+RiNwlrtdqVT/M7vZS9NuGInJQ9al0WoTYxWcPYvrAXdW+0yfqormPrw7tU5m6ZKV+nXqmEVsojDw914qAto4EwOe/A4yaccAV6sZFm8tetirexPpTvGY3iqfATqNCrunHqXceNiSHUcJQYSaacmInAAPYNhA6i0KsmLdVMxRMIZcq/ZGONXDf3df/RNfBlbwuXntHcqV9uOZsSjm1ylvwGVVOr9Y4TRzyb+gnnxACd4eeTmneJ16XTSDcxzWvyS88puNmyOlnHnkGWPdRMxgIpgozIewDe+cUFAcd2Y6tc6f7VZKadJmySpbdN4RbEHrH8ZoY2rczoXwf6Ymf9eOlJ73aLhgA/PX6zqrEswTMCzKDX8YK6MFBNVAT73seV1bYANzooMFwUhqiWi6F1MtsCJtYiVvW53eGUxBnNJPaYI1b59oUEbPD4aHMyV7KJrnp3w9W2VckMKXOvhAEjtMP2bYgyVdjkDUG5clBfw0OpoiEvsm2Dsorm0fLMY3aGzvHfHqHHEimX76R63/kRzSvjsDjbzqNx0ULvTVqU8pMOHzGQzjzcZhNZAb7RGvTMbZMPi0EYwXWxHlM4MZ/5SoXg4f6DwdUvVTehk9gMYbsykNbGM8NxnAxnJJaKMdh6+AaS7/nPZJnGMV0DD1xIEEVl0OWKX2cVpH2PonULwQ9TbrTatok3aMyyk2oDWbNgpI/GpA/vhl8ZZw2Jil79kHiJ+JwxrivnFf+i6NQ6e8opNmMKft55+3gLNofp58N9hi9FBrCqBr22Lx0ucBLP3flbHzArzKRCiHPB62J8alZHcyBSkmh97tizNMXpj1A+gcHtE6UJp/IQhwdgBb/C0lcLXJbigXuhBres0C0Do++e7xOLIameIfmksZ6ZAxrGNE1EunEjFLmLKcJwfsa2BAUAVMoDasj9LaM4UDMwtmi8ahLTdHMvGrKaDfWb5thUqkYssJnXWY8Y42uuQ4Ok1umgC5yYWTqEOwVQNxVyUx+uPI0fGN/Us4awJvs6tNsW9HQcN+B4boz5BAbs64sNP3YrGhdkDvHGAoHY1vbQZCoDRID1+y/yBTH16fvqUc/3KbyLStYRDuC2dhdLJLj2/OQrI8AsLIbsgn7oAtRjLh8B617TruqRpEcpasu2ZbFjfSd+8sImgInLG6WMM04MoRGXfurZdxRMHZR6BhoVvhcHqD+I58bBAlw2SgQxQirxAZQryca90pHEyaa+ajwEjSKmv72aSdWIm3+7bgtMyTQUP0ZouX4XhGSQ21XYVABCdSBiVCdO9urWVFjRJqQi8ClwRAmEmqMeo+kiWyU0IJaoKMc2+jgzJI7y3BeQhJTfT0KFcCwCEybuXDDww8Y81MuuUplXFtXFnpiKPY5JUwb4FozWo0KVaYaEC/f2lei5Omspkjtk1Gm8bdphNr28DYwaLE8MA84Pw/t6ts51pAHPIMHRdewwW0lFoh/rd0Fp3BH67xzv53B8Or0kihzNVlyFGYSDEnipx28yyyV80oWCs3PGoVl847nINQrOWAhUwDRSzZg44RjBleqddojLbD48cWXdwoN02T4U3yQkd6frOT/iQ46ArLGfGDMg4Hxm6fVdsQB+lqB3DpEBnFq2uQ8mp2ElOZ7YGU6bdBEfRAA2UZtKMy+NU0gdogcug7XfpDyTwNOD1Sg5vkF3eqWQFQIh/D215tkDvVybgewq+GrJoAqZEtvvwFk35kkrmEPlmFNrnAIPq194DqbjmMuzd7FylnFByRL3NFw2AeROQZ9YGWKX0Tqc9SsiFT0WL6PSh+TCsK4UYouJf1PQWFv9BzfVSjdDCyycVkBsd5hUyDnm8hMs2nvjWxQBBby51UU/yrHEBz+XvZ0MgRa6XwvIY4lrUOU1DpzRSjE92u7Yc8BfqtWdASTBCworu6qBlkLsqGzIaXA85/gqxyfxRU/HJy9jxEYoi4VDUqeW6Z4NyDglFRhFU3nrTpU9EHpqs/KJBsroKG0vZza/AReY6Hl/l5x0RJM1R073dCNjUzoAeOJ/Oxsqt8/cvzQfTa27RqT1BxfnQqkYqR8zkt4cHAjMT0AFcctnhweQAnqGe4TYZ7fAZfpw6sE2BaSm4KWyz9xlQrDFJJb1va1mS+zcg4dPmjyerz7KBFDpLL8KGUfcdfTud7iwX4vPspSeDYKMCH4i18pHrCHZpkfJqj80Y86RtXBOvhx3HoJ7D9L65S8ts6qInASKBz/ZG5R035fF4TN88Fk8EIPCcC5nRqHbX5IvSaHHm7wcrWodyJDBhLEgQqR7gVW+OtJEs2Xy1lrQZTbeoIfjZrDOg8Uc3O41ikgCX24cBJrThGzQ3DMjfG7/RjFBdWR+zMvPQITrav5Qgd/duvjZzTOUS0Gogxzds0XG+ne885k9osTRo7x+MmHw9L1xZ6CJQ8OTUTi6V8PhwNkudTe3t4jDvdiAPy+C2qw+ZWTmR4oiqCanSqF2qrrlvbmokehhZGBq8gTgPMkfrokeysPnlfU33Ir4nQriKhq1Idqyl6hvXXHJtLGBiWRvfK8BbNErspkn/7GFpjilgA1r1aNq/T85h71wmDbpiVPl01vZr1IdehETBMqEBkVxgCTAlHwWJtBHybTiM23GwtWcu++loOsRRpsr4ncQ0FqhlIDoRNxv34xxrdTk4/40AsY7NQmRfoF9oshPC5UEgw2NqiP3rdYdtX1ZP9OTRPXZsxmLs35DsRTgay9TFc6qfnSnzbYBd0WZctLRB2BSHIOvNHtgHDrKcArTmsStBamy2tWG38gS7xbNeWu1ts8FGEWqmDp24j4P3C6BM4/nP0AzId8bxl9t9sWc/2i2hV3HIhmd2s60CHmEqG5uTOc7TFJsrFNjVQvaMB4vC6fA+dh+vK3HFbVtlq0lsiWzRfj+Mh/WE0NZ5sUOmTt89EAfB79I0P1IEf5jk70BzJw2bl3Bm65V8G/EYL5g48rczdmU5NnnPKTfdAlc3kOdeqQT+y5IGM2sLH44J8IEu/5aVn00zJWVGIv5UPf1gWOszYhGbcYskzx2FmclerzRwBQpjegs2lv58hIhYS5FF54m6vNAaEqhfhUmOMUOLhIyuLIivXvEYW9K2LvdxQAVWROuNfuur74aZg9HTJDdnxEgCB+CHX8DIm+JvqWiejJCAzzK+/tHhncnOgoSwBiLqbnxgNrf+AICiDZ3P7rHLkAYquZfEg78MVu5/NBwqELDszFtSS9h7mXupQKKFfQVPAOkAHgLNctnVeO+Ba0ZbupvxEkg36Zo1ppxlyGHQKmWakMnsluEMjpGOf0n2/EZDRGBd687UJD8qVZiF5jrhW/K7I2fjLmrfTK429mj5/gaXro5anBJ9Wl6SJhXIU0pTjzjyFxqJsgrmg2C0RQTrGWbSQODFguR1uDonhs2oVwjfGrrT+Mkn2iAUMeSM8dab5Jrz5F5XPBNVKeVPCDuhs8vwSa4BLXUJPWihtKtw19BW+zj++jnkzzzuO1Bf60c7+mwm5DzVy2Yvb32mjPYtd252c73bsyaEwPS4+c29StmVF4hs4lihq/VHASamQ/9l+las1hmdQnE3OUi3uTR2G6UOakM048+aRUd7w6Pa2thNoAAPb+t60IqMBALeFnI4TBIh00sZ/+qvfEMXOEkrw4dHAR3vTKBYNVRuiEiyD+RS5iBmcQN6CORPinkb6CdGNDplyM56W8v0PusHZ4PPdau2YmqRS35ZCtlrlAI2+KrE+eiPDD2e96VZwYN2YBHsQp9nUIPkMDS/ZlKpjixwzvprVtSCF36FBKkK5UjQNn3nf/Rn9neDsA4nvbTxfh50efrvOrafH1EaUL1+X8TyWGAMLnsGaNla7qsN39EyI8tPfgC7wqhhKuHhaeiWPK05a2UbqJwFIi/PZFY4seKnHDZiBKJy6rHCyw5hkrls07cCE5F7jHMSNJ1b65cPsk/8Jjk7OHFVmOtF2j2HREJUqXDMBwroG2Zv6jfKnHKkKLmY1PhX+tIuuGkhk6lGMLwsBGtEVGhsSyIwgMZBfB0DGd/p1vFKLhmY7sL4sOiIFRJ2lbJw2GaZTNpzJ/LaF7/7rqtaItvrb8ZF/Rhqmck0Xkix92qNXXKuE9TkaEZseivWcbFruEG7Ym2por3Dzm5mhUIL8dOC4+AS68quCtn/+riAaPG2vGYwcU25Bp14jIjcJbjEjlKC4HdNeXyjUFwOzcPvYYcJDSVhzVK5UwtQD8BuRwoq6FX6iTQJ2tBZhP6C3stwewX6tA61+BLIU+3OtXdM4AIzXRrlbpJ6HDh/kp7trnsv2tqgjtdAs9h50pGZPc8hoKMiafid+OY2ET80wJszavtyp6Yux8UN2nuOwwJDOpW++ElGnKAAnq8NkHSd7Qk0cb3COreh6xiUh0j4rR4DQFm9XPDPLu9COQZwp5EHIEKB4VmAGDH4RgSfE02sb2ax4lil0yTkE8lbf934dPFX6rPhpuyJtIjkmBCJ7R/wM5HaKKz5NYX+WeUf6lvTNLZbE1zhvMQcON5Cvj7Qq44CtFqylKrbDnV70y/7niY0Jcut4WlCgE9pF8X33Ox4Fwq19AaWJl/niUxd6ly/4IhekFPMYb85jL+JnPVPFqoUbw1fcVhnr8sZGycGD6Gxw9GO1O/zgMEaAvLRe8VDS34ESN1URjSlA2JvxyzgdMMsPVr/+d+D0M0pAjNPlXA/2moMx63qNT/J8bYvbbJKQ5SL6iPiSqtgoN2Lgpw84hZMbjmG3VYLH4uCSTs3wZ0RGFwgBhIUdX/eXBSVr2TIpZu/Zsvu1F8mHdox9oj3O2GMlSMxlMYgaBKd+qBDN6CcPpYllBHe7LUd86TouWz4ksyktVCSVAvQXH9Fg7GT5ElUGtuUqJCSLgzRaPok0u9rvmo++nesHoKiJsOBnT5xAzqSlYVRDkFGXmCrMPRvwbsTALEzD4uVTBDFTdZoB7Htejwo32fiQH1sVIIIC+gObYmMpD+h8LHwWhD5DCw/phRl4vO1JVkta1T0WYmjimf4CwHMwXfe5tdyQH9eCZO1UkkE6KibPGpgUO08W1WmL1Yg8JUOt36l7/ygYsjOuKPN33F0vlvFBfKywWzorLQgX5FQyigiVO8CLwNjwhav8q1KaC5INvkgO/7O2+lXlA9BNm3poXltdPx5Ig1sQTHt3zx+DC2vNMDs2opcQe+kkcsmjBq4ksPYXk1eUvFIcwu6wh5RIJlJkQzeSR+bslwkunuAEfx2xUwwhI0wl6XSTjD4PTDVC0avlG4D1yTxPE0jyZXSovGVN3ceCKZtVv5iGWzo9Tnjs9wDcXTR49u8HrD0zpj9KgLG07lLEZVZjMBWTu/YQg1641Au1pwt26dIy+NDGUCDjV5427m939p07EN/FZN6MXENoVKjjbgtBZYgp4cer860ewxeNU6Ia6puSLPNQAiFZ30QvefW5raLWDRT7c7XBlVlhLj4Lb52C5VWfqQAUWT2a7ARr3gEQRLxzKGj9UCyurYooWkcPzGeRUl5pBxxY28wfta1kpgvdTYkDhSQzAKTr6IdlVXiltSb9GcHjZAhSXn9gCPhOJ3D6YD4XMCBan0g2rdI0VmPhRjmlFsuJbkPwNfnh79yJ0K/N6tCRSzLGvp9JnqWFmo22sFjLMmiGegqfsaI2EIa0SDpY41lfWpvY/Xs5+zDGv0UwbWmKnZl3IWEOTTFCo5tC68dhaU491jwi8ODTNfm6Qp8Q06LPXG3e792oxeYFNRQ890VNMO7FiDwQ5urGwTBoLfVcC5ocIjdlDu2whkGzBihZHGQXLHHNS/PGasmIPxpcyqE98N052qv1KJRHRXP+Bu4379lhNR9rdR8fQ21Fjuhnn9GqWLZ62kdpP2nG/P0WHmO3TJ84KbvMx2ARJTHS81rLmJE4Hdm3QUBJb29GwF5IOnR0owOot/+B3SpxDsu/aOntLhJgXuo4RXZ6qlI1ZAK4/N1FFlLfwNQ1WPt0VvhptMOSkKnrC97SAieZeqA1CcpmbURQoBibdC+Svuv2DiBgtXvpZvQQJOJxWJ5ha0q+IkSoJ+o9vMb9ANxXRwvU4UsS0lNU5hItl3CHOxJ+sBBlBAA82hv/XL9/CwHIMMQppLcn2xegl+QuY1U6wPzcVSIdS5aiosD90f/+UB73XZ0J+d8gFvot9yysxlWUtFrwgJnfO4YKjQ5nr89HKHhtDHsLuNMnxcykU9njA2ad54rh/g1+51SMNY+F14++o3mZ1G09k5fK2HVmwgT00LNr9ncTXk5InQgYYqLQzH9GwAqNqlB2ZZ8hhgIJNOfc9jikPD4/Udqlr3c5Vp3HYNCqMsSfo+iL8wuEZsD1T7BHbJYE7+MwIVvsnUVeYivG1ookHqZTKvla1zbcBnEADwDaBFGLIK40CrmnfmB/Vt/rHk9Ps5pJekGvAJoH3Lmhru+6huihPn5mb/yj1WO93zBBWX/nepGnRqiPDeQr/eIrONkSIa17S4paeCCIXeUlLbaNh9Nucku4ApDIA75GhksoX6J/5m+V9tVJ3hM8EnRum1Q8GBM/xwUWo+TlqLXjhOnmWWEQj873QH3HCsCgNIjVc55q/S0jZADEG1b78SA34GKLIf0/DWUT0K8uQxV5VvhImG5chjlsQuH9DJHEOzctCN2fzqnMdoIx/8+uSVnq8NnP/dguhN0dzQpmNyz1VrRQNndXrCrdWlgsI+Jn9bK7dQTohAP+zmIY1hwR/OtBrt090XJ5INdYjOLchkBObyoyFCH8sOFaVZYWLyclddhuEZVMWHqbwsaPZsSs0C57NXC1c4vvKEe+K6atTL/RNSXgMXAe47B1sef1neMokIXQktvs1bU7l0OYqnnGcB1aLyyK9srUOKYOX8X+gCr25bU3jc20zT29buaCtDQuAy2kFROB33w85n0JrAPafr3vWVbrfoh4vBdFTze+h1tZ18mW84p2acs7KdhGJLvW04uVBfJAohT8fM8Um9xkMdSF140qiVDdiT1Ti42g+QmaOyGAGFIS1Q5/ln9dT1D9X1j+F4GqWNHb1gY06Tzzcyi4ZTo2kJnxgGfA/DYmoRfEZrFW/467LTu4MHkpDjWe0OGS9egxvDmGv2VxCEZAnkaquf9Q3o8iuoHDhOHnlhSyPN/K86KgflWjjuoW9hO938wXmbGstWi7OgGQVLhkjigTzKL1NFvAMzKwP2s1cUiypwzEx/t1uNhyXvVFVNpXQSz9AdOobNRJV6FPliv0RcwI0M8G/9C7HzBecLER2w9qjAg6InlB8WRt+c1Twua6u10yJGGXtZIP8ykNY0eWR4+A1I4p9Rif8pSnD345zvCJQzuO2kpnVEpeCjYi23z3QoBo/SCEayMPAfW0p7Q20iPFZiRZjFTtBw00y56Sv9Bmi1cgStxMn79frgXcdHp+mw09e6gFYcaoA04mfZM8iWal1KL0NKj63ePPwA6ALFJ/YoLrN8UrmX3wlXapJgn8Cnw4ZyVb7sZ8UQ3UGZzbq3qzHA58Zh9fNAnQfrEfFt74OhopDXMQuZ85pRsBJiLl6VffBvPezgga1A9IICu5+GttEwdWP86ZzgCOHkaU07URVaTDEXS4CRQNJI5Ge4IO5kTsks2hVVkaP0dziNqLrF9tDKJRCSs/sjHIMkZTZGZLUHUv9xJTseMp0UYrhFoZOChCt3wOo5LkofpQuuS8zk1P9pR9RemzUpBL9/cMMBDdOelOuTwrfghRZYTsh8cfCe8NjRb6XJUmgegHYj6o8B1GCYHUAhtWcRpXmXlkZIzI6RUfgiKM4D/+pL3Q3Vo9y6udmgQVJV5qwnVR0UkR8F/J6rG3dQBi97z/J8tA/G2g0+VpvD4QxD0iHtu5SZG5+4RhPGTTX4B5uUMQaqc1cdsb2BrvFctqFtZq+z5PCdPZQufGMJF0n1GumW2MYACvTkHvYs9EsYNRATa0IRS1ZPciPNq0TzQHPpMxh/SNKBcD0ULBKDM6zNOaE1NyE8bzDmliPF+H5bvTH5Ml7f8TbxpO0JQ4chjvspt5knEBco+7YJcIvaubkxHrMAHuP4P0BpaibC6HoyT2WDqxLKfCXQlL3z/5WIcM36mGewGjtJENqfcr+ezV/egyIWIimpMQXcNzE6cqChyAkwXnKCIRKSThTtc/9PAhL4xU/sKE2dU+acmUoSSl2dFoeBP2Zg2s7RMU/CV56+K911Yq+5U7DSimCZmIIhrK9fAQzsHtt0bNYUdUapdjx3u/6TyUoDFnmUUDOPaR5qsDMYKc746eoXug5MZgwFzCZJvApuMTEWDqkoNkPEjhuz+YJn04zsDVbM0EhCRVeX+cISzxRspYCgZzdsHvHXeg+ycdSWkz60Iy+9n8A5DJFUu9GpZKPbO9ZNz78NpILmZWUSz+Sf0UAqsxkGVYh8jAPaUqBEMKtQPjK8rqlqSa6fvfnevkMsTTBPLCvrMckKwX1vDaXNgNUDhXE2O3wzikJeI8+aV34uxXXFWFxzdaqOKh9MQUEFZ++U01KV0zjlFVFQcCTZ8q/EdIdOsnfIg3TOdHLEiMGRaPYr6h4TzY190+G+nuTECMQJG7yqCH0QYXis/J2aLEzS4NIM/wwl6QZO5/EJ8krfZItDqAoQpuhTkbnHvi8TkBEYCIhAuiW4wTYyq/oXCrzOsRrgU89McfVJxR3D9mckDTRzTLX5cL6zq+9jcNTRkRJUFPq6saSAwP/lwPFraDYtUUs9eCLi205mfVR2KqmU+TxYvgpOmkb/5KJq0SQtuCfVNmn5f6vSZ0HIQ6yPPNlDZJvzD+kEpCU5tqEju8YgyPiz8z6RhbjBfP/ccnXKxTNAy+Ci/WWSBNYfdVyX66fUbzVf/vWbEVo4dc0g84sQhuT/+H0xVM8o1KCBjb9V1Wa/k4X65AnQYvRqOGTwd+h9rHGqQokQtIIOtlMa+BZaEW9dClD7KvHXT4/cKJKOsbXZr7Cye7zKjeoVxxe2UIZtZ1Tu+RjBredmN6CjDHhtY+kqJhweIJGA/Ud+t+86/+57p+WeEla1PZeocKYUeBOmvo70ruAGmD/0Fi+/bEkNS7Gy4QhVC5oy80Yn3BkA6+tMRABI/bymNhSR16dzPZKFcbDLmBYunQJ1fazBN+Eg9qEDgA9svmMWg6XSJM56mf9IFxx0isYhAPhRu/uTVngssDl+1cEOnJL1RxL5nLf2QHo180nQrLDYuu0A1GOqv5E0d9CEdM4wFjaxYQ8FjM03Y4ar+khHKSclNGfShqQCMq9KqwlPSqEey2tVY5W73vAomYeafI12msWKuLPH5y0aHM3DHyGZRFYlMB7kS8PL8olnevT2sFNvLc363rb2RFGzO5/Gp26EN+oiwHAVbhe06JOYls8n4spDHrGk3dNqJ7GbIHz++Pexp5kVE3+2RqGV5FEGbyUKxyLODqBkdNrzqcoxU8IDDr9+8OvI15DIlzP88guQoFIGfMot7NOjpgh+gBcJrkrrHtdS3Gc5JAXXJQz2OPOXfC3BlDQ6zdaboyaJHoufBb5+RztV4m/2hmrWICYcRfd7TooWGyzqbzISS3tRe82AQwC2CcybhKowLlDxF+EkGQVdzQTAHu0BULwaCrY0AHAmxiy6ohKpG0QXbU0b1H89k/zKsvaWr6h5KoSBtbCvSjEXqNHYeA+DQBkmvRbTYWXMjdVa1jYlCeH5cqQS7IyW1sY5glQKXMGP6bm6QDh8ha4HfmT93NPiuv3yRBSx9l0Jce7L8x0jIMkLBnj4pnAZ7Rn994ymFa5YKvb6kXkefOWDcsJQs8xRVDMNqKkBn49+at3+JruYudcfhIJDvBzBhPPnR0HBl86XMq9c0v12zu3icsS3nVPrSg2aB1PnjFAB+0wzWCSOX8p3bfrHGelhZq84nWhgo3BbgV0acb9Au7+XjH5KQlRCwMfzeL7Xh/lTTqhlt43xIFEplotllLcA1RqiLJ6B+ML/9k0M+5f/0+6Qr7PkykuietEWUO2uUhHE+rtCACwbZOeszETRjSWQes1vrZ74vUB/Iu5bkXAbR+KCQfA68hgFWIgFlWUs0wPz87+F0YzRPjJpkW3MZNQeToVQ96Wnofsl87No3EHRndcneMJm4yVLqsoVvy57XjKuROcIwc9KoocEBDjyW14IVK+QEg8o5X8ZXcSAMDVmoOINNcMCk6DQyvarvmYGMdsHnyQzM6b4rAEF65mMQSUzcHgrv1QEv1u2deKeF1SFr6b6z6mNdAw0j2ehnJfegSrjqQ4Uz13opfXPwZRbnFygGW0JXxPW2E4HZzaMY++HtGBLg2qfeWrfPI8h6cW9BGUIvkn1lzfNpxgkSwiDDAsvwcHGLC0s0prgoSEyaTz5JNPTu0p4WNhHu/iBM7T7SWIfg+LO9F0SombA0XuXzGky4K0pRjiAUayEUGA/rUWCqlhF4aUAwwm2OjA0owxTZ3LkVApLLGabOi5/9726dW4SnJn07SQUmORzw8jdaANcVpMeYuQ+5zxeMcJt2JCvH7Ftk0hj/2X8+0icjFDPdT7eewa7P+XuQoLz44+6zbnH2fKU//nEb4XqeDhgC3etTBfs/igu9yMMIbftCttJ1NZmdqFMhyxoBByJelt3bI7+9xxV1s0o2KwDPcfjsjJ+eC0WYCgI7503Y6LfdL22zPInIIy5K/yzepMYn8x5BTgGwjyKwuE0PpEiC6swBIT22chyHyv6ks+jqO6BC63ZU3lOHt0dZVgq4WxaSGvyy2CdJCnx5bOlCK84aN7/MjCly95GBvYaplRTjfocjFabHkljHvthiejqABIhSCWcmuPQqkUt6p1F+r68jCCJvThdBpu4s3jUciS4d/a6Mntgz7TOQ1i6FOtd7BPzVPEAd1rlfvmOwPcMAyrrL9uDP5wC2ZTN3/I5riXt982ujLDMnR/9sjR7cI/GYalfsB9nde9yvkVG2FUhMvlOPe1tTvyvDjOSZfsearJpq4yNwL16YcdiHvKlAtDf9yiJyN+sER/qLdgbNy+SwFDKNpIAySv77xQ+bLDod4BUoq+wJ6o5Qlwt84JlhgkrteOaP+9LnjvqfAYGv4ed83svNE5IKvuceji1oFWRRguR7Hm/1at3Mt8ETDp0/0psZQlJEGkmIbhtFr89hBOZs7DlOfqvBf3nXAOb0+Hv/ijSOUpDlAc3NF6uuglzhGkvqTUPm/ElO4mCLWUummswVQpk7IUVF5WKmotXs1RF7DckYiz0vMRAYpTmLydBEbfM6xYbdpFH0cWQXGy8xpTfrhjbjd0/EJ7usnvb66opgpLFmX2wen8VPdHOJVNs0smihuGA6uLRZqYMraFTtmG3RxQP5cuAy9ozQA12hgKkiOXHFVnIvMQTS9ybkwe5UjHnpp5pB7wxjvpJs1JXOuwbiSjYwhYO7ZBWOsEhPH134aPTDGmxPFNgdrUIMOZkMQjuHNRVgPIi7OkzyABiEgyZ39Ok2IIvZ/dT6p8IkgiIpS8ppvNlv44ys8PO4lXi8OD60UERf9B6vSCzdEU1Ds2MRFGtJDfAPqmu+ln7sRehRlgTb+UjHtWK8dJmZ0OKvuAoGmo0s3EGEp/pCovlhfWUkcSkAuEdDffkA+HTXrO1TDISfFKES1Jm4YoZfd3oTUGAkHKISABRxT55D5tdwRFHeO2Amix2hc7j3Jksk0+2bBM1lF8hRNioKzfKl7XIRYc+TLoOYhIKonbg4ehwYymBhTCFKop+XwB4xtbX1Fg+AcssYumMx7mRekvZWFU8aIFWNTHHpnRxlXwhQ81hDGSJ0ZI4l7a8sfjSkQa53L7MKQIj95xw+Q6NO4/5nAaX1K9c+OS1GXSY+qjqovI+ekvkSsqYkQLhLSU8Aul+TTPm2qTrVQRqS0/ux2TUiKPxr1LSbj+AeetYw92+5gKCO8jkya2Se8H3YWnExuekusPuqwgTLc+QLnvrk59bs57ke0c7yiTNi/rz4jgPF6FtaDV6v5vr9eYNEsTkTSin8I3uCgEvj0o8ZfGP4uG4SWG4GWpwyc0t8xP9PE+hCjTLCLkC+dHQDMTon08zVipgvi1xGHAaU2IWTHo/NQn5GgpR/nvtfROhoMuEulXc+3LMzPzRh4QxQEXZL5Lbqdl6Ksfg1nx5iFmS3lIzetT8U7Qx8QERAtnQ4Iwbd/zqm1AErVcyX3yQAhsEGbXwv7XubKiRKHP+xMp2EPZKlehWwECTTifw59W+sHkE6iZQBxgr/f3MrSor8Xa6VdpEbivFgHf1bsBZtIPWYqeUo+GuLiU7n+MW4xnScAsRgWSY6Q4EzrvtIGSUVxR9PQrGM5Aqt4MbZS1Po1d35ys0GXoKdhwAO+Y9a4/vn9GWBb88Ay8rR55eQqiRQlJ8gPcRIkBrGm4NCzINoracNI9jeHL7NrzELQZXmwu9mjy+LDB2V+GRZNOJ3LUCmjOowTZLv3logD8RwbsKEMxDaamcOYbp7Ol1ZQ4jwbe7D+6N5geHVmd8OXvQNxR00rrItxDxNwwxT5J9Kdb9M8WiTh33ZKQIcb5iUt91Yk1XgpNf1/RvCW1O3lonizSHgt/LtJ8mkMF/VFImu41JkM5DyJZ15c2vepV0ZdPKOUMinMHdbJbJdi9ebX3J4+vuMq6d+vY/s8mSwrySbbI/eVPzNSgQ+A2TrCzJ5dkOJihhtK9pPTwMcXW4Iv1bBIwkQNmgcAmDNz2dmRjP2bndXpNSMP5r43EJcLR/2PzvJS3astph/IrAttW1CKYRiCsFNi0gTC8/DrP5hnmXiwMVycq4nkHdAIInXYOZrdPolbcBWI9pKNv2SJdZ29rGk71QrBeGJXbRBgkzhJj5ZZCf54xhde8/JrLNv0Qwrli+4MuJMr8ewLWWxNGQDtf9yI/Yo0fye4T93bgUA6/z3I4Wwn/eP4+dFuRZzq/HCFqF5rOnqyVctpZRVEtWFeXk7xK1WOQT923GxN8s4mM0dV/A6cpvlyL6InMK0V4XHlsZs4KIvWAxHnZ2BnZCXaAidIkZeWaDFqb2kfCqcfClwiVOHKa+lx1BlD73nlJdQOT/NXbnm+M2Ei219Dksf8XJQEdCXZOvgJIi0KbPRM9GYn6rsvUTAIvKDikQ0z7kEakryto7ekYAN2j+luGHEgQGhNtZ7wjFJ2zk4uJFoHHHn2R3LtyBtLCwY65c0OlV7z0xCFF2uy6Nzw4CHXSnLc/OmT0Ip4N4axID4EXBPby5MfdruAS4nyz35TMsHuYnPMgM+c64D+dneIVDqkHzBlorf9B2dOMRD6wJ7HGI3kOaBHMBRKz/QYPh3CC2mtRIJr0Iuf1KVJCZofqBUFpIQal5L0ahdSjuFHCQKGSS9mDgmaBxXgHOnUAyiv/NmCc65befAA40MOGrhEwAxmnaxHwc1PFOHRj5KWr2cijYvbp+3k8UFPOaAfMmQ+viqy9C1XBJKJWGObhUTd3lUDmIttg5YbdNWmxFHwomN57Hb526i+3fHSXBP6SYR4BbedojPBqR7WkgFpVd8lPTE8o42P9BUd8n4mJgKCxFzmSgzn2uXOT7XVoqQj66CUsRmvlccan/a6iOL6yUPNMoZWmaQzWP7aO0tHryIEj3TeFLYPxmy8y1wnnFnvEDGk1FvS50alyxrNPykQal/6iRuzoQN898ocT7kP6wJDn+MXXjV5Xpb/PJHQiUpbb2aXAvQIG7ZwtcjFqVLBtBWXQKBoQhg8XmZEoZPJSp/9sHpHImTWbxYDyC4gXn3dgBSey98DCLx5xfzo/jXl56kbqComIzCYHlNm2YO8TCr2c5tTK6b5ljweVr8TyKSxIXevUwVa3337qXInyWyLdP10uQo6KZVJYQulCd8IxctZ3Z/0c69aZGuQyt7M7bQQG99AA40nHK7HueqwuGpn+gnp47I6RBa6VYm1LWz4xJXjJAi7cjv7eUzWqcJ6C8skpSp8lO/PHWiMsf1twBSWeSvTmT/XEdg8pgf9L9cn+XaU9ckU7rLX+2awDyt0Ccgu9/z2ojO9zSZYHXYx5KNzB/iTBiP2d4W6UoUhfBAoWOp7qJzEqmHM6XfgD6XKQDYSe8E87+OpUqydiiduf+kk3bWWqaULT68J2HudLNRTkwOPGLnZejxZDbemCntqzJtMf0CofC+jjzUqHG3Kw9NYtVmPGp9sa2uzgEKVv4MAOranpMKvQMNHYXmODMrTmvVv80euOyIfrWdtpbjL2kSB6Wc77rB3b11VTim/BVhe3VDVWa1W37tSrsWlryHHdpLKv09luoxKmFZ5xJ74pV9BsGreNvuBexGLwBYiFqyk0Wk7byeonGu/wqjc8OB85Qp17FhmrFm2W9zhF5svOK/C5f2KcNbRLifmo9kD8GUPkwqjDz/IZEDwtArZ8Lc/z1Z8pSS5FIMvQsaRfnn1Fvh5ouBIdyhPwutolQmy+zGifpJ1SZU804T+EN4cfAWZZKiKKSKoY8xS/BrbQ8JCI75HMy5oQkWeTdC7nZIC4m0JHFbGerVcZrj4DO8NHqSdIy3p4KHVVYjcWmFfCVbVy4ngo5FAk4E1AheZuyNZtZ0/qn4RvsKQwu5/2PIlF2xA95hzP1d7viCZsmpY0nTZtmo+QT6/zIRcMw4l9kHxbPCaPSQwfv28onrsuTU7WdBqPu21TdhXliqZXH3EA487xH4SZrV6uReP7EZtGxcEze1B85bpPVocKeB4KQ3A6wCnFLgdNpH6UGt4YGKS8TjavCegfiJOvryZ+TQibzMVlq29fSlOA/eruIThNmmlzoDGMMywYrwj1d0GGu49000KkLejUcDJ45IL1v7AIP9l4ZuHLHRuHkdy11EvnZN2KD6A/0jZkTnp8teGv06179GOibSJdLDDgPtNntAUy1s3exEP2qd/w8mzxOg6cz++m2nAlqtUl8O0eWHYAv5jp0ZVwoVQaRC8toT884XX6NnlOoVMyQrD4u/qEXnm/kNizZt/f73afo8IZjjMggGB1MHObUyTneKxK39vOoV79tNjgF0M56rjE0DNOYvJFjAuYvolUO07OsjcuVJBEzEXjK2zvsP6QnZfqk8yxOSLAhcFRWalHo7MJp5q12IV0JvrDNGsmBucL7PrSTV1gJ2Vhxuk1ZJBqP6u2kUm1LJAdKg7fv6NCBaCVi2zdqGoEdaNLeFfZBksPzClfwd6SermWPz3yATTWiW+Yh8d5jhfOv2lZKe/Ib5AwpSZ276XLc/WSJY99aTmpWDKeYUE0z51DIMSUoy6x0ecuFak30JReyFnPyF3mcngNJq/ha9TMSL89NzajsmEM4C47FjIPNDO4Ugy/NZJKLpW4SF68nbY+4IIFIlGfNO9sOGSI2mBPb5ABwVOK30rZWjxEWk+y6YP32+JJFcg7gJJUhkjrkOh9XyPooYpK6zwOsABAyPFVPrKmgLSxVsQkW46DfHEIzeG/+XsuecynUCc4g7DspY5B6dIb4yh8G9wkVtXv5GcwQLcYB0ZsYcTwzlDmQgxkSIappXpc0nTU7dZTm5JnP5z8+0BYcnCIu6X+cvg50BGoPAu+q3KGd7jYtfEAwzokHl7NlF9fqanQ/1oM0nZp3bclIDTz/0vZU6Pbn/azy3oCqCfz7S9RqIOAQXQj2I9G8/XXe5KwiNxsFvNOMCDoZiK/MOJ0m/8FQqt6jDG3E519c0qJKuzR1Lx+jgdPnYxotpd+6YTL4ueAu4vUOWD7iANgR8tU6v2uIa3DqUxJL4OAHdKM3T/q3It0ML01dB6IZp3rdvH5OtV+wSxHHb1eduTmN0HYurL1VkOodbF/GnPE44nzyi8LBSp8kKIvy8jjGWt9MJtyla824bAkw2/BRIiTXcRvbk5O1QIYM+DpQOBdfpQrZVOHOu4sh4gE8XZ51Jaq+a2rVYAWaZzFPxyDll6+lR5f/QGzDu95I+xo5wakAwCwYSaMEz9ZiJptzTQFdYIp86XlgWoSdOjPECEKcCmHburQ8Hp/2biUBCFSpfxXC4TzTpFX6VChr8Yj2UPOi5nFbskBS+U3em12h8KDs09bxdmZrmOWaXSQ3QdpSdL3hZz480NeJpfPMPYU5r8P0dFFLJCFTDWZh7239d7iNBgfauRQkiMoXCVRLQUa/iCdiI7fE/sO2qrTApMYh6bdPQwd/Hj6ws+hNo8QQGvkrqZNZdkUBk737ugGFf5dy5mN+QbbtKN1BZRvoSRE0c1HahI2UNb2uh9z81Z3WTeOLktr8X0GOOaD69OZGL73m5ORajuHH3pBTVokTkSnDTdi3vzyGpcBcEO8efPQu81xb3/eg/cNeoC+2ZYjCjZ7TMwNv0dncbnLFcF4MwHzVT5Zz1HcIvtdX9tGwpAis2nvQhJUCrwB8nfamM+yBU+01TJiraeXTv1TtKmRlFfCT6sVbj7k5KJv3Ty/mm2kD6Ebl2oNnb7i1Rfzd2fU5+8G2rWBnmG00omzld52YJQTmSKLmwfCZp1eMqr283O4wDUYnr+sLXEhIEpE6l6rUP5ewC+gkYWCNz5ETER7906nuX0Iiz24MlyjOBmjd5Y1ttSHAU5/9PcbEpXBKNFSfM9gd29J4nRU8+hMmDM51SLs/6aB0/BT7RRVlOpsVQVgd/aglfEXQu+KIbkETsf6DvpQn+hSD0fwQ6SL+atPLyHqdyweuHh/HyypHRm2BzJI0T0kbI8fvHLneZ6cDSHDsKwSpJSFqSmqe698uPSM9X8QUhCcmtrGfKWRVQG6v38sIsTv3HmquA8RUnLbZJcq/6SqHrcFsMrLKTPuHiv+txCa2xo+Q9li7bhng/rK5OItZH8Iy/umbNHbXC8wz3CFbpJIRd+MOwUi4Um6aIzoB5Ai+GC7XAe3kQlPTXp/O9UtyRgkqoE/8j2p4/e1GBwV//kKdJGLF46hkwT2WeKE6Z16x/GeGHyEtUxd/C8pXR82puxRIsn+9gQmkIx37fy9QXeyV4gbjP24Qpd3hRPqS31E1D8dkhzx7xjCPG6SLz5xdyKOeq6d0d6w4BB717zeB46mZ5EKwWt3DCAxMrXmZhSCmEFuOF3f0aXJGBJxRZYaD5s29hTDZB9xXq5CWWNg3ZdAf/l1453YG8U42/gKRlRW3JASR5L0bloK46pX1L3ob6ki5k+mJsVqkl/Bv7HYY/h0TJyZVVZRkgLvRhJuV3Ose0mHfDjWVjCXwGMXUtDywnyHzj452hSSgxZ7yxRJeQjjVGW/FyuKz8//AzSIVPIFGqpfkYWR48vIsKiRZV9pf405s0/bPO2G3gTlFvtB8xDLWHyoshA+N5RtduFI1mdUhk7jrCaOJXWapWdFX1+Wd+xnutzptBzut5F5whuPgGbu3Mf87NJweFYIYZy0xZD0eWJgqC9mM1rqcITSBox/ZkhaN7NokzoMHI/KvmTxhcKQRZ6V4BI71fBEbwzg3Jfpsu/S0sRjJIbP4+2Au5zfILYPOFUB2T4GbgQfFw7XQ2Dkx+23VpcjWDQHdgsTcoH9kF7SeEUUZ4gjo2/YWxbyjuMh9juo37Ymi/RNL6F5LnAADlGC3H542UvgMfclwyXId6Wj1X5G8OLiMg/nHrzm6mva7vju8Zjci2rmZYppmtRw7MXj4KDajAjiXA+UqOE5TSjipi/H5YK9NDQmFAbTqzsdNWSvXOV1yBGp1fiblZJJtWAo8eTiyGHTqXfUiBi5lfVV+8otq2HBFhcnZloliHP4JHFqXjV/fgjkK1r5yikZqvpGfbRl++Hugb7vAtOEilCDni71Zkdun9V5ZYL/8WTg2dzN1CwV/+DyoTIYy81308ZFj2itpphHqVWjvky+kmB7zYdsRMfCu9kghu5DQ2EuoZuqCvvVTtefu2faKGLO2Ayteb3QXHIquMQexWdgwsrS5RUsaNp3Nywst8B2zJ3RmqYK9cf7ITXUkU8YFLY0P2OkKmxEXdur/MtaXCIG7okw0MaYvWmTpUTwGTRKxLAT8ugyVxFaAekB1Y5QaEbbPdYP2KhQ/fmXAa394NtrIZOBaX41F1BfiiOJ+fNtt+AMjcjQHw/RdkbKYevUkmoeNo6L9YJmjuzVgOahbF+j4Xw7uay2FSw5BXEURf45i5skqdIbKaryIDw9XWO5LrV6EY7S6Cvt1MTa/9VIH316RBGnAgVH66GIPsnJYgECUi3NI97KZc+KGsswLxa7hK1pf6ewxDiPvKFbdvXHPIXRL6345hpHOTK8QaZCxhqDFACOYma1ObX9Tqz9UaySEkO+/eVYlFIKI+Wz5uQBP62Jq4IO7qBA2o5y3ClEBSgzC9suHXqQqsMOmtFvAQlLbHYdqxe42P/CrO7gF+605l/Pd8mCap6ia/HObOazFiWUIz5rQfSUurc5j+hMTSHEbTr5yK42oXm02cB231+OlgZfKsulhxE4EtNAxcNXiTrsTxXv5xm2LsznGFHdsOOKgSTDXGohHpZWJUFgzFdVnwSOUCSBU9mtdf3s2ZCZpmbod/lgYpLJFd6PiN4ySLDoWnbyl7ucCzbQzcDlr8CcycuDN62+SyCHcPGDcW/G/PMrVY3EVfWC27v10tZOEybKDT03uL+ka3h3QOrCPCXW0ejdWgcK8tygNVdnnx/rT+qbd2tM51gFWIQefiaErcqZPv369Q2v9SUvwccDxZ6VWY46AG+NUOiwb9KPfxSMhvCt0SgFmNmdb5DZ2tYYUWeJExy0qtH2GH9txns2lCHO/mnJp2Wg8E1buRow4APrKCLvYer8vHzR6lSKRyf2b3HuNogzYgKaS6qRaOc0GHrhrf0DjaYKkVe7zCSHZO59ZCpOjKARbSvzeN6hkZDV1fV+d4fMIgGBdT5cAWOutRew2BjuXvtUncSu2WCnLqGr0fbYQ/VMt5U3oRaBnbY9qbxwgJnEIvS8DpAPOgZaiiIh9VMJEYHbRco7jUFpyreSM1cO4++NxAeVBq0oXoHVcpseLve90BX31XeGIfpMBNJ166OpWjgH5g61n/4+z8jd0ayVvP1x4cs3nI8/SrZeLwLY5MaabUST0uJ/IENfI0C7RLjbeTQbUtVqVlknk+wg2sRCn6bfePI4S7UAhh8vyYVkhHwUzP1msLWRt33mipXLaskVIHj3apJrJvyk8YjHo+zOQ3BWmApIrPFqAjEuRkC/ULuKGQ7CXj8c/ru1dZHKsGfDNpuXtnKE2UfTCleYf9kXN6zLGR1GFD7QY0F73aFcDpEjkobYzrCM5lle7yWGddyVR5Ru9jp3q94WuattxGdfttHAdx4kyPYXfaWulWL/mS+C8+LLUtRHCNGF2rcTgMX1Tka29gV1Kgpd7vBWfdfEIFMOAlbG09AbWdq0/ikmqYeMdvHjR5PQGUvHzgnbadOzaMYBj4FDj+2krRvCm4Nqcrw1HMT0K7oSjuREueeA5h6VgjkkLPmgsspUnHP2yEk60dTTU87latONNPN5ykx05q2ieeFBIlywpnUCv8ies0feFh0WVP80yibi2QyUKMOwmRFs3nHsTio+gcW64k2sIKuwsG/E0uvJYZza63ek6lXSCejNMafbtzQZgzRBHB18ZMZsFWkpHoMkTQvCcAoc8gf/tElPTjRDRpA6eWd6dIXpL4u0ud8gG4qi3AtbUyDnyo33B1qCl76XzYORBqNEMN6EP+YKgpHDRTHcm0Kpo+ydP+Wr4P0SpXnSo5T7/W5XM+DUPxgs5bKWhhN9Y8A9Jo1ODYyMIeCYnCgdB9qd1ExmcErh6+UK4BzeS0Ww/w5wT6KDDtGVliJQhfXzrPQlzo94qIsctyJwz+3Byjig5u6761YwUH+LAh7/nvHp9eF9GDcnKqPRAyz7SFzER7DZR9biEb1WgJpY+RMxVvgUZZgo0fgz9kfHLFYFpjlMCBL2AWxMEpwEghk3ou0sfn/EqngTXmyp98xVzAoEl6UJSG8ZY4lFte3dJHZetmECHHd93maKKIWRnwoqmTbntTRGO3ZxjmeXYPuXAH1tf1tE295dJS+iN1HP4xoaOwLzGLzrUrpq9l+mzh3MD2lvErOG1KloropPvyeb3djQ9ygQW4LQl1FlMdBGW+guQvAObS20T8dkfb/0DBj9zcR+vELrFVeUZK+iFEsIaF+O5bCvqqir25P94B0l77MssYjZYZcCAEgClPIEYlLJMx8Mo/GihO1ImRQX+UYkbs078pRLPy9BCzrUQpNSKvZtkDWuzgncCOJKrK5jiAifW/o3nWQwZzxFVX0WYRYUudOGuNRglgU/MZdAB15NeuZzDt7WViezbkJnV04FiXlyFEosQi4J0reeVkSvkD2/raovyis1BcpE2t/ETvYsBenNvsOfVFTWDg5MjyguWLtgSbmctnQDg+SOozgEOHMf/HCjN7LfRipN0f/x+x32RVAkYww70r36qUy5M0o7wB1KSPuwI5vt+hmgrXT6IUZuehLsrNirMX3tFablq1QPFydy34OEbh3zwJrApBNkCwLtXIT38/BFcGrVulm1ZtnvArozXUGBPnEQHB+9Nd0CbC8vDrCCQ+PAl5gkDkL9YpBiLcn7DCI/se3NB9Huun32L+AxHxdCjRpIb7X1p3qrl6ySIzdhHjfL32n8eEUapAA6X60pfuJoRGp2oa1Z0sSWhrmx2F1nIa5d3SdrrDd9SUdkew90U+qyZld2TYxyx8+QQlEYLGOgVJNnLWuSAErkqCm1vHNdshCbOZ7L8NbzVnTiX+wftTDL0DFzlEDDXQGKi0yh6l1LbaF5DDWXKCXgzgG2VTTAb6oLq3P33txXqcea1y+7ad9/0qCOeFU587mhQYsWmCZSEAwJhFmJCbTuPEabuu4PuY87h7L1O2b3Vn4829sSTj9uequqOhCSslTwqvkSk1jBTsb86tDG8LZx1UQpB4my2yApsy7BqSq4xPlpj8Zfs+PPXu9OFJGTmaRF7RsPQkA1e2qX1XwFHHlpu1b1PX8+mVqjRZxRdW+ZJPdJWgxlPNldSAF3ppszJvkXCABYZhBRhAGtyxKwsPQ3KAErpQN1y2qOCmQcGsWsNCW0PIGM1Wf82wQsWZ9eyvrwUWeD1pFV+EwChC2/58GgZQe2WNJwQE8w0XkU+gBuFM3MqPl7avDNx0QzYxrcq3JMnvjwYxLkidJK3ZHSV/o2J8JS1r8fOPzvOQ8w9w0jOA2UjDECTXOMVpqDKYpUZGxGZSYJazwB3Hn4gxX+w5zlz4X9f0ah5r8jrYH2Ns9yfCArPcKqKZznMJlqbS9Gxy0U4RX5yDIhGRPbO6juq3CTlrSOgSMp0rdnShKRfe9wvfYx9wuKkafXyEtoJwTRZve9y+7C3EzytEKtAAGHNa0DKc8dbSdMSIPA3I6SFkZ2QYdWjSvN29IntCkYeyilghFNujfVkO0yuZfSW1h0P7TyjOhWFkQOyctfIXwf92hAt2L0QLxoUUf53cUAtqOUu5FgT+c+Mp3zfROg8oXF+AnnOLDLKXyoao/UyMW4cjGi7Lp972ptA5GoDbU41uaoMqSYapomydYeJFnMPTFtJT98X/XEh6WI1ahihTzZCisZQfgZh9LvH6HS58b4YQsDBA8q4LN3v/HpPoU7s5ZFya7MboUcykxhgGNhpgwLUI98VmnZ2oBpfx9F8td4GSQzgaUXH1wmvEZyTD3QLMsM5KE8unZDzGJOlI9MJVCv4Tdab4oR5jlmF3GCI1MqNsMo1p0PJTFXPJHnM1ftclgk1itDMij8QSZswa9+VgAU7iBay6ZMWHDM6WsLCZEp8iUGGBQvks9liejgNixd8n5nS/I3e9zpHcKGWhV1AA89fBKXCQ9bv2WmBF7WxYSXJOB1rcEKdnSTLO5CuYk3w7wGNNj+CzqEB8n6dY24ldMFRxsz0oFTodiYmKc4oFW1jI8/rbrGLgFIQMGYn/mPM5MyYi+GwYO9HfbHut7aXPbE6ydR37ByKxdXTUl4+n/AHVO5sP7I5WCOsLW8ubqFTZG/DDCqDs5FUazangOarDNyS87sD5IVtNI8kjt2sIjyKXC7vorz8x62hZ0W4KVhO+RHybvUpCckgA7XoOXt8ZJTskCi9PcHt6CPGqAK6bsLS3lcBwIDZV+fZmj9My+l3LBi+FLpBK73/bSP0QGyyHYa2r8znSDfFpf/kAXUVTc931SsYW2PVSoJ01hvBWO7fpFbEph0YIuIylDBlEFEckUSVFRQr8rl0oydc2903yn6tcZvFkt7NXt+D8+wULggFexl5cgbk+mCx+ZDjOa/GOax8KrlpOEUBqAoA8HYsckbexkocaLDUPs348cOmAMIZUSIWq+h1Rn7/v+33mzMUZHEiERU7Qs3nZEVuBwPklJr43tWv+8lUpxiKhVm57Zt6Rdh7JW9kUz6wNWupQnknw3flmeBT94f+m+prnKNR52dYfBxBJeIR6Tcnq7+g6QQhu1aGno3K/3pbPXfneFcmpVwQDbKWzkX7slm2/o6hE59eQOL9mbseq2A663wcomL7LZzR8ybsUt6yxYltgfotblwnaDH2MO/kzyrzqi9fp93CkOhvK1DgNOiueUQO/LFXlG18vlfwlBZwwi2cYykSTZeMBL3SV95c+BcBsYOz8HtmAYUBgI9IlCnKW2Zv8H21RYN0RBpCTCEZjgVHRtQ8y8bFQc9lJQmPwuyaxPqSn+/GlDPo8NpLSKCsiduLE4NGfOx2eRhH/u+4AtBcTJzPIYZSDtm9HtbvxDXk4X4dAUpox8zG7aUEEFEX1sWP1zq+3+JO4G2CdVNEbDH2fPbEnzBbRB9+7j5xaydPpMZQih008n4HMbqmGa3sXpv00o6dypa1wUeZJL9z2X1zZascbSD0aiFO+Y169QHQll5hqbwjvqBHI12iptf+WrDx9J9rlQKw9gMXhPpdWNl6nymDi7zKYHhUJR6/fEcK/teqbB0JMnZuTCbgNEdukznLK1v5wpPU0toKXsJ5V+BACvW3k6TF7f/1tywOok8UaF1FTnf9bCBODHns/373GkkAawRW7H/IYku7Sj5rbmDYgZznS8QwZBT1sJWNeMFFgijQOnUDzqcSlzqcZ6Mhf1W2YhjatV8qir/lf8kGh4bOWdZOM5k+IPLdz343vDAt2WiQHBkY8xJU59qdcfjcexgvRKumQFEKaxiF/G55KEohu+WKboNp946q27n6slLEEs8P0Kd8MINX/OL824wrmq54uVjktmf2GWEbst+viPhP/sFM65nhjhFq2KEx9I9VL4vwK83nUFvAqPPT3D1D99kiAI8ndRGHELUwjkK7geXkJM353G+v/P3JoGryQF89KZYqCBIYJu/duZMlHvo0zr7h4P5WU6ItDkv3TQyBk0WjI4EPRAo8AF9nM4LUkEK5m7h06B73axPrMxQuARA8IQxnjsVvPaqH+fyYx0x7pgss4tllqWOR5rIa4kWqJYszAH8hpqS5P99Dy7hI26W4OVPtfeicpMw8YRzBG1WnO2nEGm+Ny9Moo+tw8Czra+dNMtQyqZYIb7saVxLFpuAU6BGKQz4tAG3PW48L+r/9i2dGdmvspwStvyt+BMcQzDm3Wrf1HrcUoMTwHTZNiIjlwP7YdKe3bN9uMTbU9AGaQJ1FvVnu3Ku/GLbwdXv/Hy1g6gpXFHQt+Vn+4FLjqfXseLn+aEd2xbds1WiayfzesfTXbs8/1N9VUwL+eErl2mH6H4INBb+epf3O2in5mJ0Ej4Ox6u/bVnlZhDabyAnfod0BLNzmGJDhnitOmX1MFh89RqHw67Ku0nQUolVZlHxg1hpaqRJtI/zDOgqGU/qWq8FQ/Az5bKYfhc9adU/UUhrOvB2mOruJiqcqhfebGapKPJNny/0+/Koh5c5uMAH/APzRS2ZXMe16emvKkG/7UlbLlRA61LgCk9hXwKatRHY6oV/jMh734VY39jkSrKQtILEdpes6W2pVHMGzOGl88CexOBoGIpiuRLJ7NwrAbpgI5DGLYaW7a4Ngpcb8jDS4cpBAYhL8RW9F7+lm/QnPL+IT2rwWwEdEcU3gUrfKp79ch2spcLvbVSiKHRdgD+Qdi1ptBZ2phvH6gb7QBE3W+sFN2wZfAG3vrcwvZKmfGVHniAHWp0eQI8w2u8VURUoEo8jXCz0guGAOvxpNRXnMmrYE4jw6ns8mK1tihIq59/bBc8NvWzZxKqnkr1PntmXDg+IjDhSxfxZrvb4lysE2kF6LDDOOOn6hXSUkexSi06hsF8VonwDOCvTVni5nwlVtsHkC2bVnsvrwMTwR6MOW90edfSbBjZnUtV6f2y+vgBOMKhU+0WR6ammi+jYV5W96YrStBo8Lql5meO1tO8XQs64qQUY1dPvKv/2kiboJug1IEA9W6Ev0RI15lYNq1553aO7uTajIV8wwyfFgV6J6A2RBX7zqoAah5ZbofQlv1OVTow+GouclkxtmTuAmxuzIKnE3BvzFohIFt9kCcLYIiAXG8t55xv5BnFWW02lnWL8GCfO1j33ibCGHIBrBaret5Es2Zq80wKj57F9Ibz8EgdYMDcv4fzdA5JVGJXxkr464MmbE35SfQQ6uHKba3Idg9ieJRjnNBossx1IN+BrBB/QnpDsy1biks6a8H9uxL2jKWRzCi08SHwsbItvtyvLWQtfq0w4l+iiU9Xt2qQS56dANTIbZCpd4JeEiX3e+7aKDqRgbHOAcI79OhyQyttSLfxHWirmDrlw4FlRcClVxzEwFKhWH+LX1GFlq9LXine8u0VZCsoanFTe4bprO84NJF8DRQoDCYM3w+OC8HPcgpzJuOEBFEf99hI0Rny4/aRWFtxhV45I/yfK1FMMi/3HiKiFo0/Kpo/dgErR01GA45RAIZGi8YJ0xJhW7CjAQzhpzQ9FHkzroTYeVqhd0Wfp6vmsr8rIYgkJ+XpsM+WshFZ1RreZeI65e1DercknZCob7KH8rYMiTQss7yk0bGw/lIXEoARD9DnH2xEg8TF3jXRX+hbwNEnaQ/MV0+Hs4n70qnWhW+Xfe0NcLTjPMAZVTUzsuJJZ2YcoXntmdFsH89O9V9U5srqxGAC7m9YgaC6yT0KJN594TAziIDaLzRmdMwmZ57X23VPmV7H0OVQeabqL6bYcdV2JrIOQbGcwmpoQu1e3dBSQNEAWOXCvzSn55ptA2XVOS+k4Oqa+Q04OHgPxZPoIADTmbj8nAGJejAuS7AQyRyDPZq5E+ix00wFNSHK+H10llfl/BP/PTxWT8e3s8G3EOD39k9SUuFT10ArsJFFZrWYFZkjREOBZfXWybNM8DAqtDoojihrKS5eENnofsy/2hgoMyP7knGiG06d7JFychFM8oDVFIbJhEUyn4eyvmUNeZCRkIj+8ryVsx7F+FaLM06Zl4ywmgrob5ljNEvfgKDADdPmNqahCru4DDtjXeX8gus1SEVJrpw5kmlYWqTdB62g7SvlKgwBhF2EkcEvshoRpwl7ZE86bzbHmEdCGVnr1kOzoxsUBFuKicfyeSvptvYHnrqk5mLSUMjfqqBNOdUF7MwO1QB8jIvLK85ju56xqaCqGcTNwFLLd51NsrYur+8erBjIwrWpqihjn30Yi8OqOHlcg4bVwNwsmp8IMoVQfAn5iZsUH1GEpUsbqse+PZCaxfHZhA8igVg2zJ7e5bAcLl4yAoVUd+Hq6Pz2L35ALe/eoTZjWZn5WUJwjU8mS1nCf4WDDcHuPrgFpTtUXjegySwu5GD7lAyeg7YIBgisZJue5XSSbiMKAFr4f2KgEBZVrsYSQVEGx8cZ3CLfCt5TX9/oOGPXvynRHii9WBAAeZZHpFPpPzibxDmUgzwUISSHd9Ki7IJDbrYoNQgWwS1EtI7kkkzz4+VF62tZwSnVaIp0qFPSQ3uBxrZQvvKvK7firznpnHng7xdVGz4lkeBKlLaRyRUmbCAloNoFmhJMCVqfqArg60rKFvL8ntq043UvW8xiMwSdSUOOrj2gkFohm0nD64fBiB9HjSLBlfEun8nWlUCJodvVO/ySjyPuS7hKC5qbRwFlHJnyjVr4UEKk2B2PMR2cu9f7bdFiqUHdaahZWBy1l2yjLUndtB6CIXSWRnVVdD3TjDpfN+YvjzoP3UHipElIQ3NH9JtfKzx53kPnjxukppn76RXeU94CbU06vV77olwSM9f/nsm4rqpqf1KzUiFJZpWigJdzuTynyrGxjnx672O/HJoG1DIvyMfnd418jlbipd4ZURczDpiYYHZT2s3LFx3qdFsa355vhEyFV6g6UjwcPJjN/5AFbM7JX3Wn6+YD1EMATCHW6x0taf32jNiZ88ON9Aj+bTkvRYd8TsdnWizaqpTh1eQTp8cyYffv+7xnPAiumdqmUMA9EFnVxOVvQgr1IiddsBMwKLe38A/mAUgRoOovcQrr0vFuDIw8MeM7eluCZF+lwskh9Otou8WI+7B5Y03v86e1fRxKOEDyOJ/hIPDSffMnCWXxU8zHBzq6WMCmI8EWdUkdoY5O2E5fRvLkX63FL8dbceHcFGspMzk+ggZDq6szzJJpFUQe9b+PiP74hRL0CY0aDPZtEuFI10h9VBco0ldX8jI9WVYD6KJbPbi7lEvBE/AJVmj5E/CpuWDXjNJLfj+HDYwNAfcn6hVBOQ5S91zDVF/Ar5D2T7XOSoIC6L3CUlJe/6G42Kzm8PmXAR3KU3DfBml3TEf7ggKOxbGDCcgz1OTcoS0PqKEPsTdUiPEhhUtu1Ovm4pT5gGo98eiE5Gp/nG6q2/z+ddLrW56XhwTVOrdt8G6QmhTl41viIwIYzy+x6TH+6ZZfKbmiGXdihgdXnzfrqtScGcfLETn5sTYr7pYh1ZX2B0Hde+W/t5NZULGG6cUj5VCdqsQOr0f8tRZokhjqW9HjVj02ztBe5c5Kd5pyqnRECFCvntbgymfTOFwmyJPaIaz6BDMLqEnSj3nDfKCZfj0Vqn0flQRl6mQWaCQC4LkDvMMNYeg8oqnUq9h2++15KM11O8Zbury4k7RuUpsbBKWIEXL2xRq/zS62lixFLvVJ3aaOIFKnRpUjkrz1uJXrWM+fbPWzBd/Z2MoM4u1xtSQg14yqnUQwVxICnLORLiUqEvkcmt4JuKbJ9CIfin1xHeqWDqYFAJm2qu+hslliHRp/QWNxOpMufVUVOD+OBuoUffxhL7BLuDW+VZkm+ncdoSChdUjpe5tBzEDjq/nPqNbVS5Nl21BMWZ0bkXwK40ZzpaDtnkkZ7jbvJeMk5P2gSSn6uoOs+OG2IQAIcwIHWc1OM9rKr9oB1VXKr7g3GNA967JftFxgD3EAZPbS69CIEjljPFslKHUHi8EVIDtRGjhe4YJifvsRXTaCP7rOMfqS4fVjiGHiazWIu0C6gJJriZLmnEOocC+LwkvL7Rc3lMl5EQnO2eshwCFjipvoYaNAC2/eUg9urw+VdajHcSEkCI7XGrehBZ0tgy9iORq/gfeAcAbTVsj77waKbiRwa8tHq68AcnspPJlJUXMuyRsgqYRzM8OYsUgOc27f/4K0IXlGQwZzm0w7VFTxL44SC0ClfWCKKGL8/SaQoS0RxmTQ/qzTN0NX/Lg2zwBeDBW1ixI+44YIkd6BKxsn3DGo3lPnFuRgKzT6lh+7YNi3mCGyQAuwcwuGMa2P14svRCFftgf8+b0Z+eV4W/hb8WBKwSdNKOkqzgLa6eO0KAUXHANQHzlGR+iy2eDypIlM90UJe4fx5OKfdMLgm0JOqjfW2X+WjbUeqp0o70PwuNJ9G9Zo5LCR0AA6mfarBb/8QzaXu3v7Ak5Fe5I6Qcdkx9rqRF63++PrLkXwZAv/m/1zO/JzJvWKbKiHA8Ls1W0+un/YsrZDc8Txzkr5rC4xp6q+kWmTjpmaqYkN/qcFI3CX3hbQFg7LJPJil6Ssw7FhE3e6TQ+TnFflY9hhPmRpK7HONCjVa2QHwh7fHcRD0j4E/7wGOPmyM1+xK1ZWpO/qAFgfBVdIbrpsPrGYHhSL8EfVv2WoLOQMB+Fa3eWqzAeQoGzHhGJuGv8O/wdht6EY/0lXCnxiapDau8DvfGaMkpbu1jFxmEE16PecgVW+p9TQWILYnwggAoKv8voZuXdZ4QrzXJJx926TiZ6iUd/SjCrENP9i8NeEPZyGLCoOO2v++0zqig1f6WyxSx5/TE1p5fc8qlkZITumwIDW77Az57JLeoWpvyfelDU6Yeslu09AG/C5ciBk/+CavKYiamiT48HdolLToGRkXW9JsR19wZSx1tmFgY2s7rzxNZ6i3QEmcdcy4OLjUu9dGf0Rbr9dhKU+ZKptCSiuQgxZMqOzL1FSczdLo30OmgFSas4Yn4IEfaZtfkBU5d1iiTFNmY9ozxvLlR9DqcL2fPO4KEq/ZXPAosRFGsKd0zxiWfPmnRGIyhnwWhekWVMedG714nHeSBYGHCCWjqEA3atZ3Rpjo1jMKruEDxOLk45vXp+JWTiWRukSRNtmrl/jqsWL8vLvlxbvvwhJuf/MwuLykzSWSOkSgkvWPKZYEsCr1KdYVz58nxG8+g9Kcyy0YvZFRV8Cuz5IVmILhM32L1n0T8yc9zlU5DRaM+2DMeefw//ozJT9a7jMq/2BTYspYTe3TsKmBW6EEhaT+OFvoGyecuaEBlmaVXDaPjxySER/SiQHwQYKu+8KFTPXNHWaJOgUnoVzN6OFMVfQxRKA7tnqz242hqBIK1tmIQcAeRx0HXf83/Ba/ekAVXHWgC4PPF/1lc6jq8wZ0PysBknHpkZ1p1ZMDuoUUcwKRZCl8sT7S36q5HgWv/+il3m/EOQ3CyWOQdb+RTL1lSgh+9qsKONlqugjJ7qszHy3FrQ3pGoO0JjfsO43PMfCrJokvehHiIut5AThYsVH4OwaxqbYyGmq2cx3bEg5Nz5yjI1kmS1YMtMxSTFml75a1bb9hLh5nDPuO4kK6kqZTTbxizfLfuThOyW9IXwCT4C/wGEh/FIve2J8LeRcngvOJI0K+SrGuNlPKBtyeHfpmq4ieHt7PGKXVKec6Estt8WHc3axiACtzLeUQK+phvsSBZXHm8Jn166JfI+I2Sbm4xHP6qNR17KUnWM2b6kv8aAj4atta/qp0WrpyooD9diFIdmUudLq+W0a1o+ymDEAh3NcMEXnT4mDSm+OTnY4nGp+ZGe0g9c5eV2yVuUsxGojHB4dXm3i6g+T3kox+L9V8fQYGSmyMYyjReBxVz+kygFTvt+hK2TQ3Fj6Ler5/8NqxuubrvsKC794otVVo3cnsQzonVXWcYWEOdEF7nWsak1Zk5+1wps+vwFcT3wJUB5dzA7L+mylEYn0KMUQx8/d/5L0Co/MBYkXCGUt2FTdr9qUFBzEfHZqJxvUoRb3DQkfCPZX62A4DVCmOLzNQIrSE76Akwtf6FsqxEdm8ADd5cxbxdf/oQoUl5fJ6u9pNnl6xx9mCU0UgteRNA3baHL5krT0oxBLNI2zMwsC/mvh5xSX+dm+ELD15nitEuVVRK/1oBug10E4KAxI84OVGLGn62JMfBGN+ym86IGiXGOOuiNiSRbgGUBr/Y1mXf8hGCQkHmrePJ3Z6h+W8KONbUGDqO6O4iHdTwehwXt6JgUf0PlF84LytzZEIuo0GHoEgw8o0owFiYHMZLXnSyKMaP/QZxFmqwAXcXJChBf7CfIhtv3ALJtFAiDV095nrAJXl0JH09Ox87rZui7i9WRo4ZvUjgI8Mv2K+gs9pDNy4crNm5ByRLUrlgRNkHH7RAlFEIV0vZ5z5JIB06BOkEEzzexJGj+xueBp05RHma/MhpfZ4T0RE3yffnw7ZsBOqBxQEtEy37+F8lZcuQbyhQ6I0MZ1Dd6dwHnDvvNvvAndmRU/cflsU2oKJT1wySb2sLdlIpVXVGRKX6DqdEUgSN0IEdEWQFCKfw0vXaRYhqEXeGi5FFDOForiGpCIM3eN8vwcGAf1prVB8F/bPzGsx4/VhBCSMuhgr3FK4gDW+ndjgLWjXaY/uOt5X+E1kmKyTLCB8Y3CFIfG+JWX5FuVGggFCmuN5I3dnCZw1S1uz8UyWntI09LVAiTjT1Pk9/hYeR8fsxPXHXy0Zoo89HmRvAdKrK2zsHRTO1Ttq6wGd6kT4CZA38y7+rF+bprZsaC2tMexinGGnzZ9nHi9xQZ4z91MDJrcDMcf82mZAiXwgam/fo9wGuUt/kymNoZZCPhiIgTC4i7WII29MAGJNAzwKuHFqEB8pHQQdh7OeWMjtLD6t3BO3ghmeSfWBuhmiNM4go7ANrvouwXEo/bAYKiVjCHaz4y51+T1vgfQihZyknoXtrTt5H5rEGxgAriK334GoEdWREkHnufKc6/1/n0+jUULMrq0ggL5NxJlxjDjBOgl2+U8ZwrlGcY+Rs10yjJLOU2ITP4v16eYaO2IVbIZrAQlBz3J7KKqAnTGZZGKQXZC/LC57ClPKoEN5x47M865zo08RWJah0JVm7Ynrq1eC5gZQ/elaEX8A4j+RyYNqZBA21vYTOnuqKInxN+7ZWiEr2lrzQ02lGlbXP7YqsUxFiuzNtq7px1YWPDRhiJ2ra1RtT8wvSE52jAcbX4R585X74f2Hdz4zhf0R0JCwsV/c6eoEFeXdi811JxFUJMjqL+gGwdvf4BpxfDFcuIY6PD/0IGoHb1HXqLWdkHj1AA/IHs52P9vLYo40lu3q/pDStPC2SFMDY8arF9unFHlIBhj+yJrlju79IXDXIB8NTSooaLNX/sCQ8SG4Zko6EmPB6BWCssPDQf2AV8T9WVF9RYXO7QEm24FxXyo17DO9L+2BHqN3CROywlAQ15W9ypehDVZbijqVhdvYRvyHlLaFytmkPFb++lofabyOniOe477anYLhjjH1kFdPhcsh09Iv9hEZNe4bnl616K+ITa/j8HLsnPjuICWcLXmwIGIu2wS0l0eumjEIqMgjEbfGQDLr9kvAwXCW42L8JBc7hmh/2DaFEz82o2dwv4LGpPX7Fwc3y/Zx6lRDO+UUcnyiptmFFgH7a7aFI1FdL6t9rdb4i5mWa6klHigvLPTlv9T0Ygi/VfE4PyvDdJNqy1pYJZpJRwNZoDJorC/4vYIIDMb6mhMuvWA7svuOF7e1f923t/+uEXUTsFdjFECzHLiDW39JBF/TWvnkgJysdjSdepuzU3xh2O884WjDF9zPcvIVwKMREf7OWehusVRbADuLuCFYIrxI5ZVVY7mUrJVthjo1xuG/fT2cjtqpunzLmPLu6kaTDAD+GunK8wtmI3YQmFn72QsvQKB82dbs4go+kYNUrNoWS9/NYq02j5zmoHrd1pLpTiKpc5+DDJcpn/5MXI93O3mKl6rJfrscv9VRxIJKQ8QS3lBgDTiCm47EAwAcCw3SmLYlXYcDikBiALlEcsVp9vxMI8S/EZw7SAmM1hNmttyd9mUeY7/0WAzg0jz9oL0VzSCi3nsHZ0tQIwDLDXh0k9cU5pnXcRr5fG9k9raXms+ySO9/Wa/gyjE+mztjhOWMWrFmNgqwGR9+i1zE+EGYsGicUPniv1rnHYorDvaEiLmQtgeeU+U9zm0VYDeiVKMLlQFsvXxHY/lO8QtNkizWQCruXaODwdG+FPFAFDK3EnTOkVbNAIlo2KxRDLx3TRRi29bQwZMnl6taQpR8tVC37awUxvtxx4rzfGaEThAQvwa4mU/WTou4i4R8xpvQEoc9+KDcbv674M6v2cgFryz4jEmQh93d8+foHz2Af6AJkT1jv3GIlJFKNRcBa5CYiibb29skWxiev0SSgWaJiKGUROjgebwLiIAmK4qiMTOXoHrafo78cVtBth5fYHtByL/m5SYev8ioA6KyN/E6W62N8wGL/vlwstVghbrRGke5IE2NCRKj8vpsWEPV3r46QZSeMelnwuZyxWw164KBWG7cuZkKuRECQjg9hCLF30yjxBCglyehOvCr4lpMW8nDVlOYsRwfA5qWs1ZauFVvHGarx4bGa6Pxmnoj7ZwqgoZng6qM5Fx2kvLEPeiMUoq/qNgUVMAubH7d7TFDkeCVbDAp1Se0M2GCnSPDya1UkKmWR8bde4e+VhuhoarG1y0qwMl4UQO6sh8EUUgA64VB333uumhtnGF2+jIFXdb/7EDlC+BsbcDeSMMDxAhp5ipgPApQk4ceNiZf3ZwRmJv685Q1BL2YI5DwNlG70QfUWPJ1hQ7kzRtVpDU95/XOl8Nw0J7OjjhtcvhyuY1/DkW69sRjrxpOS6xq4nSCe0skzHkPrdlT5LjLkdozhOhAAPTBIrN/CDBc1M/aE09ufm2OFMyJ9eBksTidO8momN5w4t3/S5W0QyHaqpRTKIyC7f7jfea0fmgSuOL4M4MEsgrb/CAYJtrddSOtohdt5qGrYIo5QOxOv7L2nBaAPY8BIoewxGfDp71So8aOIJz2iq9Fnmrj6KSZ4KlIemq0nPjUf+Bzuejk1mw6ru2tO9MX2FqjMdTIhbgzDriDxTYViqvEYyjo1dm12dMoE/m9t3xWPCv2SlHu6HswEPvfUK3C+qs/+55FFyrZZtsNFx8CiI/Mtt8kjZ/29jWSBFJx8ihRQAzAZEDD7SL9S/6N1IZNWUFvEvCi1pGJkQn/M1F2ZyDgMO/eArM4yoi/f1ukWZLdvBEu7IrFkEF1w9SKswE9Ce2lvoG7Z7Yb/60j2Ay68DzwjVM6/eY6lHY0SyS2EgtjrPcFPO+XF8NAbhYEacNVWTrD2AJAaAFz9SVHuO+QuuKPoxW8WI177yh/3TPgOTj/UeCxqgwacoFygb9gyzWD7kiTJSkNMbfwDcnMn37UkB8G6MCcvv6XHM/ClVfdtevJuhocNuXIpKHEHiOROSaSCAg4zUVXIQLWIKwgizkTomT7dgingktumv1wogIo15HYxO/PApSiOMKSWors7Xjt0kxdysf7lFhtev2HUrjxFbkI9Tfc+nIyWuNITg0266xfkdRTjPlfJm9SSys9/ocOYUYawCBw0ThvLcFtZjziRkgJJ2C0CuWMC95vpJjmbwuh3pQnD+5IBCrSaND2zcOKdA981NquP/FsJDq2ejwd5AtZrB9e/+H/LVIurqO8J6xAWofiW+B8FTC/9r6Rne8bRYlPyk5fmOn+z6dmHiTU3rWKWvSxW3jPhDPUIWB/mmWgliZ996WA0fhKwULidboIWHGrBcNwGM1MdjRdWegiCvFtNjCKDpZtfPPPTGIv+fhUc/2jOk9p15KBhKmMyyNT1YJordZlClKX2UES5i+qtYiwHjm3xHeVpdNQvev8oSVMNI1Vbb7xEfKKpnXlT4ccy8zWtUbDq0wW7Ow1hjuyoXWbjRJ8qb8YIIyn/qVYBpYryzDyCOlLCzQhG7a9+/uK6Paf6H+YOfdxV6GgxipuUrZsrw2dJ3cfpplPvmboi5bRvotRRa+lkeFPLJaCczzQj/r28RreJbOb+CE50Ue71DfAmWF4jbc6uGCfeR1DESrhS6k5wfWNDqP/BpnCn7Jx3SBgg4quooQU2m/7KB1u8lA4G2vxQisNLdUncw7C9rtZS8vgiFiY1/rpVqVn09KczWn3DICUvdwSYysYQYw4K78yao/MXrrXOV4/bASHQdAEYupKZLJdOUSN9XZv77nx/TovxRy7BWVzKQKREt2CM2UWyO2xcTZjhBfi+OV/ReM1OgwUeVJ/Ky5OU/ToL2swCs4VFadd4lvJDxR3YMoPmhzXIVah4wbTDHYS3zNirOzJRs4Eq3wR+tdds22scjiJnr66pqB3cZdL9wYfqO2SbwUIJdGMqcGbarG9kVLoaVpqXLNyVoo9X459mrmplnagShgjP1cU9cU6tnXN23d0W5P/d31XDUDNegyMUUHebwgqj7zhjOwp6i6rHT303prcnKoxUWJwoQOVENf+HgpRXAVhgta0fWwyU44MPvDNaHegnEouZNQXV1G3Fm1D2EW/Aj5e9vnDkNMT4/LeJ+wz5Co/zby5S/7qZI6lXSX80LXkEDwyhGWwul+JJFPoW/toCwUk+2z4W83n2VDW0V26Z8AJ+Ygq9kmRrLEbV4Wk6EXKcMzOeHPgE+zcTz1D3hcjx60zScHTWvYlzRFTbiXXVb8wNt2YIn3U8pOCTXOzZmO/ERPbUqliArcQ4N1M1gOFYGTP+VHsL917qNbUUUPTURe3dIPQYATA4/E1k7Sl+oSvh+/xTX+T07PlEApz19B3/EH9cvdE1oRzw6xC7aQjIC/QicIHkx3xkIS3Xa6zG3k2Y818g6POrtPItLKSdeuDNul/bODkzqFjx2yK9bpOouEpr77Wnd4kyruuILy/h81JjPMQLzMQLZeIBZwHEx6ydOpt5VZ9uCEjnJV5YJJpQLxdcpGM+tYnvn3pxGUgOhub4Ra6o+4NZV++yyX/ih2B3x1P+7qWdAaU4n5vhdMGMaqT5ZsUGBqvly0ZvN6IFA2+X6pwnhyXx7FrRpITcXs0AD7ZW5TwE8c1IaUig7tT/IGVIYztHRJ9qLmbasLWmDsr4xOlo8QEQkWPxdYS+CD179B/98O3+N5wYBbKqCxoK1qF40KGqC9jcHHaYLyKPjdQ7YNLo3QWH3ILB1gswFmibklGyy1hV4xDsJItkSZBR+IjyE7Xt2Elg/DG2Ec0/8HbJsoriBpd3BMaYMSYUAR6/85XvSLzKHFgEjn+cRPdFuGqEllgiTTcfOqnIh/xGQ4P9fzp+lKkeGtw338IqG4VTB7O7TDopQnLI6Hg4QL+WuY13EKZKbh0IT0+ntJqmGk6f0RlZKXg3OlEy2cgL6XhbUlikrZy+L12Ojt2Zmuz3BBlX08++9oBOCctKv875ah9QOdEnHgaRju5tFGmgk+4pzqv5wEIpy5vNlk7Hs30rCEI2x9C+7BepbQ/sALa8NpS6GzIl/pJbJJR0CnS94/8FmGu1cpIu8TJnYU2xLhkmHifUi8TcHvGThV70QBblvEIe6DcMdlYbXSwXezYM9re2i+JwIkDioX1SQhAy0Fl9vKLKNbyAp/Ho8rCdkhzPa3tN+XeEct29ne/N/Cjdzrk+d3vMBAs785xdFo/ZJjFNnc6K1V37EcNN9s3M4NyTCz7g3T1Ss03G1sUePkl7DnUERhP/YY6+Yq1Yrrp1hQ3SssOZkdPgivQvMcciynqNX7jdnl+pxZaeh2HWrEwbIfMQ0Mo+gLDwr6Z8H3KTl+LOlCjxBYFoFobnrA+AViKWw1h4BHx95nw4MWvoN9sNUGrLzLC8FsTRh1aLfIZ2pY/O2vBytytOPfesWeig0Z3DvvJx83PPKx/lSFNzGT4sa+/pFX6z5izgBEO/wXXTjZMet0wjLUvior3CmnxPtEzgnniuzLEGnDgENjbTmSd+4d6Q18eO1ikmHPMLX9o3W+6hbQf085cfeAhL9LAPBv4OXb32rQ1oIRrbxL3P4QhUWyR+Mf0J3W7AUcZqumGyCpHATCcJCgspWrWXyVmKmLwRcE2WITJrZaLlrvlcMumimS9FtDjf4n4oYuFkXNkfFzuPOGrUQ9YernlACMWxKwXxwNiJ38DX9XnC+R/ehO/Kbggmash01Bx4kxx6ym3ak5FoOH7c5aErXQ+TfwA52sWXVZDbQrqeRWK8SesNTDPoJZWn5juweB5c+KjqUEDcuD49zn9UsXqfkMCVx7iFFnWzmSeWnAjRCc+mrP+sxiaVAofv6zcJvaTCiSDxxEfxKwMdR4bobDlJGcya+TEkzU14TjWx0DFox8cxpQYDTHN1NwIP+6wwvpOJnxiCfQQGRdw7Cm7QEu4P9jmN4H+C25BSh0HciNjkNT3yRqWmZGnFUZHIxjJG+UfXZG807HGqGf7P2fSp9+Ja4C6bi8gPWHHR9oSZlQrjfn6ur5vPtxjDihPoJTbIedb/6WihuB2Atj/+Om/W04U9rMk1m5UQKPRXH701P6b11YB0oiDJJp93ycefjnLFUhzBkyWthTWG6q9YbICWB0rE0dRIxQA7MeLYYsV+epG+qwA6fyHc168aLf60CSZiCWzq6dZq7zlOz8KUenLhUzGq5D+BnKpcQZ/aCoxa3wf0/K+30hjcMPjn20Y1Pdosy7n9egH1u+yw9Z4U8C5MoQacj6G7l/jyjXSJHvvhzDF2NrZLRtGCcBHceXU/P06qwcIvRoNJSTESGDMmlV/gHsNa0hZSsH3ZKRw5jxG/xsOUg7+dnvfevCOpJF1ZIulslBH+iq4H+oPtj/+yERZsutj2tqjfGZ/e91rkUShB5fLoYYshYXaLZyXUEfStfhELFVIXSTmnV5N2vu7LBfR4DKjLRBliNkEJHy47i6ShKZDArJQCuOtJk20r+3BuGyls6TP7nzklKr1+b4XBpvwJxqUu+/CI/T3fVpMFtm7qwlHugtc96YIaH5PO6iPLAlINwn6wg9UBjn/DthoIh16CEN4F+taORStrtcIMHzsMZLkgWHvVuQhattWl1mtwPBMWrVzeXcHAuPX2MO8kE+qNI3ddo2HPh37MKv15oLU/aVC5cnd8B7tVkFNUzvwE5VwqmrUSV149+B6P9RTl45SLs7pT/8FgvYHJEHFuiqK7H88GLFS1lbSj7lTIZ6Juf4JU9qzvKbNiUOO239b9PV/ofxqQS7BuCHW42G1JXQ9EjG2qClzsxeNpUOx9VCN1vuPXUY17IDPgBWBQ9948Bqls1asFmpcyLBZJ5BpJUHoZoueuvG6WgJaG44HuoEQ61Sw87H9LXiykZ5wU0mJ8Ra3A19t/xMLKxgti2+2WdUZSxp8oMr86LdBCZvRopPZvnCrmOF5jpI13zoOU21kO99W/ww9eUEfjRo0lKjsaAavJ+dPg+MgbWE349zOReEgm8TEs5WEEH4uqyyOUKa72ogUAVIKhU6bvFr8v9YcKSmzsO6bvj03bT4O3trDzIZ8SOwrwgQmpcR7FBKMwq2gZ+IHFtv/gVT4d7qHKwmZOo4OOU5c8RR1KN4CJcHM/OWxd/I2nXhmsC5Tm8VrL/Mclbl/O/0a3XrXw0hUG7XZWJMJcma75CMhejwLRQAzRAZGLm7gOyhHLi3HMb8etTYaYVBSoD+dJ5j124AxvkEz4y4bEW6FCki9OK3XlVrQjGFnWfwf8u+rvpHcRvYt14rW4WGEBLXFuJkBXQ6rpajmhTlNbP2Jmmkx4do3jx7dlx82QNc2u07/aiiJU2SVE8/92f9AepPyFpyDMMaZEC+8hdqjtWJpnRktl8vCriC3pJrvr7szW+K/ettfMPQm+zYL0WwpcwVHMx2Kp1TJ+Zd5+85cHXc09bmM72mNpS6W7ILzcyLWMMtSWBfk6FFVk+NP2lUlGrT5ghaJpRclWgei2kX6mC9HW9bi4pxmCWNsJQs7V+9ZRoPamHIEyYaw26IxqPCRA65VS0LaEHw/3ybz/2DE+9eag8A+KbTa8mN3UKBFN5azU4TXmTNalEfXEpL5A7JWHgVep3fjBoZOUCn323lsShdgrzvAioHfGBW2WTdwprCnizl+jbXKiGNmiCPkpR1G0/lWL8cdK9FU0bfLEGHpR+9DMCb6OWEluNkdHshtIUDHMIURNoEYoqGwGmG0LAgVkVw5Y58FWUOSu6CfA5QG5egg/2/oYbeVTAGxbPy6vQroHKYgn4geNPf3r0lTTLo6ugkg5j18JVgU41W9/3QvHisLyIYfNHPFlpr8mmSfWE302lxH3Vwg1KV/Eue2j1vzd0Tmqfca8phPf94QHLmoh4mZ4P/h5fP6MjlnXAAt4fImO4EOMpeKrFGzDwAFjmtor4xDCGHqBjxB7z6xCCRDDMNwLvbl9NBih6i6VT/7GrbEQgvJ/Wd3jb+aFY7zXiyONHT1RhuO1xT8sCERthwJxSJb/0yMTkgg+TbYPFYDLAzO2bzakhv9/XvgpanhJQuNBybv+7Fe8CqhnFzp7VQKNylFBxhE6A74NrYI+ey1OodxhW5nbYwblF7dJNPhEym9naMeEjN0/C09rZ8lmX/ZugAcnPja15nh+4XJ38FK641dAvyuZTZsm+cko7ZAmTpCdw726V1+Q7ZovmP/VOt5g1+liEiHAmszNSNhrIt6cjC+UcQHrQ4CntABgS1d6RGoe4xFaAFbEzxI2k+B1lT4hKg1R9GJ/4ge67ti6sJlvtKZRppr/QhlxKvpqdNz8Mlmmfqf0YcozQic2m715Nv5sl3nTRIor8MpD9tPjZaPt3/DUm7eF1Bek6BWNO9BFSIIFKzxbPfGXFOZkUVuxJIPOYkFxNNCsjeYXWcZSGxCx2SMFNftMZmR9kJJRsy68OYPourc5dL/aZ0QvLDdTF1xsCrYmY3sZbonPus0OI/NVzFkXW4M9MettoDDD17yF3ZpOnBZtcLaZgMeILo6OhGcdBgZTz5ygH+SrNEkloobJKo6MiOfnAJT8tA5xGgHjSK2k14QSgsDBVukK26Xlc2V3gXLWXwVcTR4juGpHMD1TX8tYPTAjv8COe214bXPpA50FHe+FkCM6vcjYDEa4qYPcG7k6OkOwSo2H1pG5lIhZEXYrDX7ET7qB8o/LmSFZ06XR03UgQY42KWdnnc2wlMmPvwfEWZOTEZmc2QeCVmlZQ3t6MwK1grh1BqqborJIJGYUoly+QgDJxh4RAfW3G+/7xrggeM/2NwcbDP7BDhcyIAWkDkBRCo3twH6ct1OmP90Azfck52SGwx60v4xK7wq4/pRPK/N0AFUXi6D0vkSASJkNNLEQ0hRuRehByVofzH9TgA9AWfT1OF13TEQh+DEE6r9SAesYL5uvFazgFMoZ0VM8IBfDBR+ra+h3A5VPUwcbdw54NoUatDMaKYndnjwQDp3qlDX3HW+Z/D/44hu5qtxK3wSxSW4UfwDLXuFIzYrRW5Iq+pibnHX7PKoJojWQ9Ghtv5SgjXKVCoQ5t0ozIASCOiUxx0bxO5MtHsWCG5G/1DOcX2iQwT0sj86c70px52ZTLACZiCo2M9baosW2oRPYovlkmwGEs8/4d+usNTtE1b6OCakGT8hsfNoKt0cMqptatyzD6M5yTTRF4nA+epciCRbOKDOlya+TccMHM6MXrXKevStXt8TkTNp+uD+hLZlQAaizsGqIYYlOr6ZmuL4AIx6iv4C4e3TxmY6EHpEUTbfH8jo8IeFZQewUh/Jh8qGmi9ED+EeZgfjzxPVX1ywZWcxYi7UTdkA4wqgiSQgGg28lljetsGEm+N0SN57aSXYyMvO8dmw9M952lrvIZP5UkC8RkpOWLpwTSXvjy27w/gaQLTAMq7ZuAZFEklEo0sZNLhsBfimCbRt4esrGrCPPuFR4ovbqxJA+/YIsSvlf9yxoN7GDlSLMo2L5Gh8NcaichqwdUlh74dny2xqJiP0QPdngAHNmmvHtolwCqBLQ9ss5u4MVIxhUfW0CxSa3SxRMWQIi7jysA6aVIkVzMxzwMZ1gSWhNhiNrAtJa2vIZT+w6xy/t3RTtLrvPRmokJs7ty6OOrrX0WwFHUxNkA2ZN+rTuC+UBymFif9CZmLgopXptgkNnqq/Qa01v7ukRgKt30ysjc8JTQOOXTROF/6HEe0qMGyidIaz7EIhTAma+Jr/UglyvYylcirdRRsr30zh1jxMs3ve7W7MaLFM1D+jG6uV4n4/zp95L+0HI9yVFGq0/gCJs0MkzaPcdN7viBNtGcbk0LCBrgkme02Tqbym8l47nB0PkuA0xJ/lI9xFbgzBWn+AISJA2G3WcT9mjY4VtKbLMlu8il3V5KVK73leEqXK/yk+ynIW+zxSzHUzhtK0gIJfmyr17B9cMIqa4w1mW84lwzU5liEJqofwtFAGcW4MdnFn4ksCkl9cHkAn8FcuP6ZrZcrlUYQ/yfwE+vFFXYQjKoQ6BwXFYOuQ5DkUxtdv8vhkKXwmGCF3fMjfvb/dUKZGF2C3bDpJC4dqQoSUDYrtNgWXQmrAACTTWgSR9yghhCx/Qfx6P/SnouwNtYHBaTjwZfnUoK2htTGhos2TVrhuZxVCt/ZOIX8WiivhCRADgCddRjHvNns/t5az0W2TjW7z6zbS6Nvc9eUk+FqX0PrWeCJ8shEAQNu1Zc0ZROYgoYJax/QDopTRHrufbqhd5aeo/EJOGb5Gs0VdW7b1fpOhwua4a2Rf26riBX7xZBH6m2DqgOBd4aBYJdxYuSJ2b8/zSTPQw4jhQz6u3vJc5TKbqfjqDM/96suqS49Z2OTymgoQIRkaWb7ksnCVBwjBKQmmOUD1SSJ85LCv1KLLBamGCFfw197y20E8SnAMuT177rp0zw1Vts2poBIeTJ0tQor12hFlTU25VWoRRNzdCw8FHwStivozfaZMm/cI2CHAS0NlWnvrnHjFC6VUCL08FZLXZlvNu+2raV6Q+4AuhoK8agg76qcjmtEMHybun5z6fiFrqHOnhj/In1G5EpUO0mwDGdX5A68Jcd80i34hiHR0lIE6YpWeTdfei5EuFIFuUHm8RDYqvpRc+tIVDLbjInpFDrVCjyf+z/FGuBTaXRZPU5NFpWMsqwXV17YRJzHqS5K3A+xz+5J99xQfvzGxg5ZuHH8YQnzxSGZP4q8W1pRJnB7ZrN3i8pMdi8VGU9gyCu/XYxWsUwicCYlwggISkWTJlCBnMYi9o++uaSuXVw/g3NZtN96jWEiWf/VvKRsn79lnyLJ0QTYV85R7MEVOAdXh8Xpd4hIyvecM2ZmX12sqZ55Y+3o6rz+aHisAwO/Ncym7idYr5OyGoh7LX1gO3XzvjPuJ7BMOycig0OmncewIjVjk5dJyjrpt/xx5ExrEI6VI53G/AteItXucZSZnVh/RBmnHjQ7+2s7cVfAJnuapAYhdPmW5vAkRhkV/VOV8FKqOwqXcFLuSK2AXclLmOiFagDmEkzKUy2BaT1BhSrF+aEPle9NiK/XcpysRKN1EoUaEKcs40iFiPI5dtaCGF8KTyIp6UBSarPwRNsIQu9oe4XIEmCkHSnlwnoUe1Rejl0jZLzpTIDuFuJSTvXjXK8W8hdZ/1wNwvAHndpJ5vBSV7KxNCqh808q5N4u8wiafr7P0Fp6FGLasf7NwcXqZWwQCm/sY/Wx2cfHpC1rJ3f7N0OTPkquo55xKehtR59RhY8AeuGzPlsQ3RNuJyL/cOn5+chv5bIbZ7NTxFb/B8WjqATxjDfyMbk3lZmtGvcRJ93g5rMXNjkTZrf0Qsq4W/4sKnpi69RH5CJBfIe5PESEhsmI5lIMWRIj8M65281WG2yAXwuQwj5DVMshAyorwrVuKN+td+AaNQoETfrI15E1Ug6VGcec04FQX8lFCk69NgGXV1fQLnXsIc3ey1xnHZddSQQhRlRDjgcjwXmhJY56HBvzhjKiqDgxsmvzFR05yYkTn4NkxQCoZKuap8xy5Axdr1IvACOk+juEMndyFhz361iSbfMRlw/jLH1p5FCC9RmGKIsDaMWmhv+EjMByK6rlfYEQlf1+3r7VX4HTpJLzYoVo89Ngm8qiwc4VkGQNKGL9vPxsdV/sI0n5ZR68f5yF418yhTmIoO2PKnnFc+THZQJp5eed5gyczwaAkm9W3INaiRbSHyMpG0Dj3/bfASxWsnZLMIEoyO92GQQZU1+lhgXXZ5Uuk3ld5U2mxD/Ht/fSb5GySn9YyC9/DjeKkyGninJqTtVobiIKXHmFku2S58KGpUVhZ8ZbQCIwATW4JDdMnbY68F5yxmkpspbarIfIOlM+eBMVylyXuPcAJtcmrUvt/AOpnkQSpqaffx+mWny2y+MKOJ0c4Xp7CBvi+woScg6jniTucTHcIc4GYswzJvTm8ptfDgWce50bHEBBQ63O030UeunhR4u8eTOo+ltDA5XI+287s0CRK6tckw2uNwzY+olXg6MseYvPaKTk8CcrKhmj3Sx2fPdGhepZnpCnNKSrmYXhhUg03mhJ70HcuLlZM180XCaHRWgkSlmnSiRWwaB3un7Qx/8Gz1NtvfQup9j1iUk8N9vpes1HhLgzjbiPl84Rd0SYfi6Of93+YEMM/DM62nBS5NwagHDmZfIYzGGt5xcPBx7RT8JMwPtUjyPzLGERGzEkgrV5QzotMNl82VnZBXe46AvBECVs3RbSfuair/AYDelaLEseuFwV6R3rNfkVkrs2p/OOfcQcC0sO4SOWmmLp23hFn/hLVIOfLVfCNgKzKkDNkiCz/ZKlhWVuN9+HnqciJwJv6oK3R+jF1o+aR0/R6GnHMCxDRXinc/lSKJ/Cnb5F3NsIbFyBIG3Pt0BJXyZ+9ojhjSUvzMisUbFT/AMSz+fdBZpDh3q4StNiKSzLWo5wd1y3GjdoM6+DaxriBqZ6ZrODae+ccinmGakD/VHVQrnJRv3ZZAB//z3OUAE2+vghUXiDSdGyjGe/ESWHiJPKkr4xdGA9jEfnhsC4dmcZ/EI0/o/OLLsJtOBocjOAKYqXmqZvmPUReHqlJhh+WYbxoR16lFwSH3h8rGc7z11foE2dEedLLt7C9foED8+O0Zh8bZTUbq9n0+VQE9qFtE0cFfUrBCVkPJzDnn6RtncAg/qHn5QbTrNI7PE18yl8lFcPdjR+U5wD1al3OnC/j1fg5HT/b1acs82W3/eb0w0h1qvVmRZlR+CSH8Dk+oTDIh1SclU+GBZ/w8F6LR5WjLwh/vxs35E1FHutSsqVWF/GaIe2etZQ5GYugUO3M2IzZGYf5CMEuFmgVrD5uacuEfao0DHKMepFr4QA/JRaEvWmBLD/xetL4CqTyLVFiALoLqgtKwFXNotj1nfRwf8/HYvfOOxs6I5Ms8e4+GEBuPEdu/UFdSToZn8eDfQ8HbmLCljd4f4hENVeqLLsrgOIQQPN+YfDCpQxqiZc0OVwmbQ+Es/9oIr9kcpSTX+yUob+iurMZYLXzldBczSCeQN55EX3qttUCcF7ql+q7dTBTtw6aiSAmmvpd1IMVlnTkUOpdZWm5zneS5qIxsxmcDaI19f4kB3g+gK/w0t6GPrkmWxoKiaOJCsAoHikSL+iw8TICkBixNqUcmkp15kTuo8ioCDDbqSH7GmnHYmX4WKUqgxcANTnn2Z24Q1vuFHOpSBbyz/1x1G7e505RvYeHyQlW02dhOvLpEwpCmLV8jfZ8KeV9V2PE+fUSID90acmCo9SIc1dqfgw0nBqNNiI6oUIAmdfo1ikJ3hYgC32fkBEBxmDs67JFg30ML7N6pi0+mfd6EOlsxjsTKPtLiIT9H0cZNRGwb73AnHvJtnTD5aZpBK8Ygcz1NHjgO/1vNc/6MNsAWI9oAAl5/NsoJP90h01ASYLufy9DNyTbjoRfJypXFWwQXdjIXYKE9D+1evZ+fZRmItvqSIfBv3n/NeAw3gYC4UPVPrH5LUDvtYubrfrPLJCo3oOTysUk3oBN/tjZpMacFTyq7hC41O5edYycdLNKmvnOF0TSMTKGwRgIMxLNeT9J8VhDpgh00Y+KhYvI0yAPyt6oYSI6O5h+lkmHvt7WaWb2tIUT3jeaPYKCz88mUU0vXzJ5retUker82WEGpTiMhjQwVZ/bI3tDrIDajEiQN3b1o4B6aRYtDwAwwQIittPHWTwHwfLP9FqLsVUv9FK/Wr7p0nRVjq9oLpaKlEC79xkkttJ5OUWN/G0NhOdGJF5EsA3g5bOnoZdzczhxLjEFBv8i8NL5AgCA4E/lTzaOyLeiPa09Mp+jmhZnsy9ea+kQ2E9B8IiMgg/Kd45s5nwWaOPv2CLLwZ+0kwNzPeSXW5qYoqidnztg/3TPOLRVWFU2yc3cpS71S3dOiEkaPN16fZSt3SPhuZ6C43cb5TJ6dEfjeTds7Nrc4KgoYioJtPaDRZBDFVXXkyDS7/ZsvGDCCXIixOxMZ+1jh9HEy1Qfl66pRtqCpvz8+qGgk543YAXxkjzS79VEO1XBcOhR3713ifzhDFbH4qWNumrSfpPjfcxYlW1lQv7YlRvYBLF5i1dqszYAIrclxQj0Lqmpl0zDzoV2rfP9rPNQM5AW/ZL8F7Oy67NPwiDf4Y7EOPiVfRXxC+jTkgeKBj7QmiZXwgWi7UFGk8k6AYOqeqnjGWsC6O2fGn4GcJzX419l6NZSbLsFNyDgcJL3N1WIOYTf3jSc/x1YVdf4DHShAdB1/IHrj9St/Cio9U5JGLek5qnCIic2UjITSKIongHVHV3R0J7YjCfk6GlToiEwZ1In9wSmreN1MEpHzucN6CeiH5MkbovrIWzX7O0Zs+LOw2fdqXcHa2YlNOj63TgTmu8Ky5AyZ0Onoh2kP7YXHACgwj+qp0O1Ew7BZlHa+I23nM1G87MVJaYpE0dCxLbW1xhqpOU99L4jI/XwsJ4ZPL8EoSHNcgnDD8j6wxwobLvVsitFcYjNTXPr7KHIPBoC2pbw+QmGOzllYywNP2FYtoVHMXFkzOayFig5IRNjSlTWVDjLCph5n3cKY3PjWyJ1wAzjrpgNO6HXkYQkFpXRCrHr3JQAY40hf38ANHb97XC9XAS//GPdbJQbl6cwUcT4jeLZRcjc/v3W5NSsET1xl+eaA9BPYGpQFCzSHSzl3D4Imd1HOgJwOgoGqKVCJqYyXS5id4dV4XSfMWRLgraRQFMboB87VDiIlD3APYgEiWOyYeVRGa+FJJz2JJmQDiUNjwMJ6JV2tDGiUIUNg46a/SFyU/mr9NBrPJ0Lw9hpNk0d5tfQXLznVO/vgpEbbW1Msas/ZuuWYaQ4EnuvnJWNg2OQw6Vc+bzZp9yHgIDn+Tycxl6RA/J9fi824xhWfjFu/iXEtdOq6UqcUPFWm+7GVDVgrgLYtbrEYLrD7dKpbqlax7r0PRNJu4HWOrM1lR6O8J9/Ie51NsxXqLDCdV1jJVncYWWkfxOz+RnmXw0crROCFaXL9YIhy3zMu1C26jXXgamuj24T+wy54nIV5LadwprHAAcHX8tSL1YErX61pWrSWfBOVo8Ul4cP2aDdA8hckqueyydmgcQxD3/EYG3iEgq+PEVMCWtXBzsuopZLus9q93DQ89+dkgvcUtiQjsDn/0iCyF58WM9LJzCSAGX6OEuqAIPImmqAzsXaG61q37nGocEcbHUh3+7+XOpuT9P+583oFTVVhunXACb2tifvNzuL3DcDRhOPz3QDC7eIkjQXQ1oiHGpEt6PbnEv9cikpo97wxatvpFXXAP8FGEmzRXl/RPVjC/Vbq8wyI0hK+B1274DpyMi9xKPecu3OlOIdasCYmkjVUfCG1C6neCBX0pD+W29AINPUhw63BT7O4JSCm8z65pEZgDG4H3KAatD7PEJKfwJs/6sYHu4c77l4N0sFLoAvWmUrhXDSRDbB/6cLDs8avU+QEXQWLvbK+fW2kF+HqtYH3tkn+2XMK3oBbEnmeBBvkRsFNDJW5Xm03PMJVtTmu+iSg19oixB51WKAzWSHoAjkz0bNEtyDYMVirs1Dc7QVyHFa65V9LrVv7l1oj16GS/FHIhnrmB6xPb4Nl3mGE3ljOLVu/n7u39qDbNOWPtSj9MY+NiPsBI324gnfDffZZ0QZelAB6mPDk4yRavYZd+l/ohxpwYKcOacfSHEk8QeRdILCmAH0WUu0vBPpyWHf6XlWrDmOv/2TVpOucEq5TXBvDj99LhNXeGeen78K+HFZumBJ2t1DAXXhGbWr7kWfYV1s0Y9P++xpgkl1ulXzabht2VhDqHQ2nkUviy8i1IFfIY1qlqOBzMgEq0WKJIPH6fNy4ESVva/KAtN9kwDVdjS8TfLydORcAOpF43iLAOhQUZZH+2+eFOyhJfkTkZ/Hgz9gMy4UCtt/FmFznMWTUh1wJflPC4W8MxY1V/SxWyXBD6FEQX60sRpiWlanatfJzTLMKVuPhECagi3KxnL4FXrIwxJGQbNppwh87R6ZdcvUrpStvdLJVfCzAdb162qno0DGADh9mg1i0vSmYZizxtF1P8KoT/rBS8BFYpduNW2RVRZFzPsJvEFVrvWMoVHuwnUwdDIJkZvvKwp2oQ1hzOI8fCowENeCQyrfJsbPBx3eB7R5exZ92+W2ySyhwE/LwM1KaO8qMdpU0ISXVbiEhHsdHoGiEIG0bhHI7eb0/31jzyVIcPKPpkGVIxjMUXkcZwbo4VMPn7KFsFYYjDyOE8I8ItegdD7hFpnqEPe8q3k37w/GMa+mogupdvaSjJqh7iWVD8+p8QHCw+OBDNadXUWHo6AwvwtrJa85YsCoeASCD8mrpV5YWkHB90UuBe5xzXBBCMtTCW1ic3oMAhEfky5eKNTuNHHImINHxQLIv3+R702RussjskSqF8zyGqUj6Gffd5InwuZJk5Zx/wvaYlL3zpqwBZ+qwNhPSuOS8q8ggX+o/F23BiJp1+wuKhmd/PuWfcNk+5usxCm7oiWnmJwunzJB9mLuoZtKvS+pGYPD1afrW/UxtgBQIRweaxUr3s2kVP6X5sUWOm5deHKlrTw+BALxzbig9P+yyt+nAwfDIq8wYi+9xYunOxMRXiWrZXownOM5x7BNte3i4o7mkRajHOlWaj9HXwBtXQlyEB73Wan7JyX1cx4VuLFrtO0LUz5fVsJY9C3vl7jIPmJ9T1Q6uvSDmAY7Vxa/R0QfJa83C3x/+XWEo1mGGieVEGmEpILw3WKLC98Yq/YUaoduu+6VmkPDZ8N2xjajIazIlrHNon/v9Fhtm7++bHuCIklX+sOTPkfbjBe6asBx51qUSo60o3WlQ768RUSY2CRr8J+Wx26uvFOJlPFky+CjTV49ezrI6svVZ+kzILW97WllhJMeeLQQDxCJ1Psa8b6fBk1JtP/WsUQMKxtbBduqBVZnqO4f+q+6BdXOCMZ0TDM2hVskSVHff+Dx3RBImyAnNuNi8vZlEFJeuDaYv3RligKuZ8130lH/PtPDOXxWgaREzrQNAOfWPfaxww3z6o9f4sgXl3pra5Zxz7OYl1BSqFXHAhFdybuxChiuyApRCGvZmX0bnFnVBhWohZ2UtQ/qMNckG7r68UZDTBP2+ltf+d1tY+JsZUcpic8Jy0uBvP/bVHqvsT7HILxnJCidenDkSPdvqIuVMBU2/vU2eiyuVh2RzY+JWVIcNkQpWvydUOqWi6jVOadC2MgnyFZja4vB5z98VmgXkxREgd8mmzZ0kNifKIaG0V4SnWgTmrgd1cllVDqiG3M5AhQolHNhy2xej84hHwkBNrkE+lxnGY4ZY7D7Dfy06zoogXu6UVNWawf7TqA8Wozz/WCwi/fOJbA9SWHGyeIs5fT68lCTWttowpjGkCwslPW5+xDDrwwI7+O/7oVTf1seWC30lXqXeo4Am1uiGB/9Gwj7oOSas+Vj9OasjzkRqhNVSZ4Ia23uczganQyt2Q4mIbaPpJX8FhYHKGpQgT63PX55Kc935h7z3EY82kXXSP6cs8DE8n9UGHpuBmPLv3X4Dk9WHYHlqQWtfrJZPdgl5UANbHAK5F/ja09dVIJ1AKYDkGApwTvQb3WZ0xfIGw67QEkfBtfbP7kGKVEVqbCj4cu4M38k7Q9lIc4EgxTYz1vMMWY3NR+EdncDlxocIroReBSF1h9Lb9ruoTvWT5T0bHnJcVDvLuFwrKbLqLO1qudvEI4TbC6NilS9LeywGZu1BBc3yXsgeKWAyB0XlgVjnfNmQLrglu+xqfdxw40xyQu9Ys5iieX8RDXbIln0oMD94A/AXSyCCDHYGf0M8VVL3yLBtKbRwL3z1g1DXXAevhMgan20o6NupDCqpLRl7XFKmMEMIzpzEb5rFWweWa9cmsydXEeDSsh4BQGDzV1UQxRYvSWTmpKHWRf6uOM1dCUBw4kFWMuZjYDF/OT8QnrmGd2h3Ck53qx5hvTiTAwRDpg9ajTEKUpi9KrujtFwFIbXfzj/alP7sXnNR2GBOYdAMSNMH4qR9A8y8isgGoVvT4aRfFWnjtGCZwGAx7NegnroX/7k29/aSQFU271awEIGvdMeo80EYvdOdkYqLHNQHDJLVFJkNy+YadlrTB/23dW6GAP9eb44Hn7jk4MGAry/HTIgcZEpvGmQJeHsA9dkvsFyXGcE7I0joc8oc++yIMSL/wqGGS4K3mEPhTDxiO4jV9kWnown7rG0BWXy6W3CN3jw9nzIeV6wdBZ2SYddFRufeWOAgZnLMFpO1EtNVWN89nNTXPLK7gSK5wxObYJcpXGrhhJsAcUVdtWSIHThqtZR7EOmrwlxrpKkRnpaJ+0qa5R8keeaUekJRvE1dveAYD0WzcDdG+BMHIzlUiFntUtdPds3MqURWVacc2Joayuxxjji79ZBG23thLfW5c7pgP6jHwPtz+Gg2TFtj0eYcf66OtAcgm9M3FSYVex0s0BSdcG/wijVx6S9x44Y9snz+pEDaYVLsmBCW3UgMbeuhhe+0nGGtsR/RjMTInqBaBDl5LH42/IQUsHhLHl1MFgRVqxVId8DTf1HIyvy7eOHHjSZl4kHwVtftqlRxFuSFXUF/tFQ8bYutfPpA6VwJ5omWVW3PN41ykdMO0j8AlWNLLaB9dByGTYAjX6cDs9gzcnUzGPIxTD5BakRDyyOe0pXDL6gaBpNx45VHkg0j5iTgTmV91HRZ4KbF4GBQWJRX2m48sVDoLJxmCj+SLKnJf3GxuIXQITIzPOECgPgiSZdzuOYFSh238oR1FMZ/MTL/r97+0t+EaOOTQ+25A7pk8Hr0+gEPCXPaZTSSsVilmXxQJPrgl4wrC7YaOIysPUGhPKu5WBrWQe3IiQeyTV5UcUNzFq0gI1ddOSc/zVC/4GtVqriztVVkP4oc8yOBw4W1fyQgu/NRAr3CW36li5POAfwI7xXKxXMShgSBLchFsfjIuuE8MMa6f9QB+CLVFxYg3vKJ/HbmSI0G84z/2zLa4r3T+GP8AA164l/VDeSY+jk0ESme9SN2xAl5KOZENmK9t0wpIY7AP9FdvCJrAk6gc5jYLnau/3cOOS20XspVje19lANG5ouCxa4VXv3OnheF7EYrw1Y7QzsE6aGHUomaxU9NUrcoivmfEna+VAhUurvEswGlz9KjZut76+XSRuX9DpvMCRL+KLY2GXP+gnV71GtTs+gZBZuWyKVQOCCg7u9qCA5kCJ2H/jFWh21tOmIydFSOPpHj1klMrVEUmeHwSMbNm+idQX9oQJ6rfp1pmZTV4WCB/roex1Cg0XrOwSp3kEBX3q/m6pXGCVXxMZui/f7784PEswCdWxOvTsZY+rI+86PDyWaWLaqauQqg4HN6VrHtv9vc1cjfkffg+a9CFd6u+BzYZoNz1HkQplzTIO2BM3OCOyVU8ECC0FJCvBVvZkfJyYFJ1diFctbMW35BaJcM0Rdex2sqGzF8eibcUCt0QI70dJZusBY8kZK64o3OL2msfEJjNY/XlbUGHUBh+vdLUvxYeEqQU9h6GXWU+p76ZskdAmdZ1P5eof+CbxJUuXFKN7l1pWK/bnTrJykprrkbzZP0XRKNIRItYHAcpontjMOQ1qfO4GQRMpOzbkxFdBz0kKnmp2qb8M8njeF6+lzuGyt3VAPG3FS03Ew9b2mxEg04Ew7NFEYt8psQvdeaX/jtO78mzdcgGdQvqIos7dOkqw3hgrnHKl+NmIE2wBn00ODFdjhB59XDfisq8QObPO+nJ7l8oM9Hfsz+ILor75dSXP/fSJ/ulypMY+umsgUJC//rkvusDeoc8QJeKYXtAeOP8hVfjEiR7dk6F/cdeiiVEw5JDuSAXqhCOlbu70nS6k/A72xAv+rEg0W2K74UospeErqNSnC26Ix4Daix5GS00ifTcpZOfkcWfAIvs5yia4vfY/iXaaTI3q6QnWLr5OBJLyZqOhiNDyNw3mp5srTA9S5sLf/l+ZFOUc2OHdPGqhbTxzW/PjSFjUCkv+u8gmZ9T+9bwTudMv3Nv11xW3qe3PlLo6xTZqD/4JHswvONglyH/65j7/P0h+AfxPXVcBG6lte6GgczWOJAUb/1hVsO0eNoTfFaUnspgh9nPQVuAi2lrMeDOypTBkocnJH5811iM0eytyIbLYVepgti+qGBVzLurg/KV+i1KE4RGqbZkN269eTQvQm3O18dS7bdyZmN/45YSfr03WMVXHzOjP0AhSO530NQHtMnd+n2BVH5rw2jyXkNCaqkodKr+4IUkVYVdMn5zmCBYN0fOKNbSqKRGUOf0op8yOaYxciNqnzulTiq71CL67zi0sS878uWAfXSSBpDBUz2rHPBgi2afVlbQ8Y8eOV5mlLae0pkKYvy3ZycgUdVHV8ZKttguSh69YYm5lR3TlvfYqQ1m7ZD9HEVvJiWxS0JHpPpjk2MO2wvsQ4ltXGGNkrdh13gXINJZa4kifFNlcy56a1shEWctSsJrXwAaeYM1UlBH1MpfYsQtyfD/TfIXt4pevKBDby6DC2X3LJblZwdNBz1zbPepYEKu0KVNS82PHNU814KsdyVNTLWVg5rY1v/5CwojZ35fywfC1oG7rF+0oBt0HZ8xmXqS7eo54mHkThiPtuf5VpQFYnYOcAEAaJ8SEyyKegTfxNFtPSGqlxHFMHpMqcO5BVGxkREiUdaa+3gp3EPaKfbuAywv7a18T810tDZTDt7oD600wxl9a93u8NcRVjAohfVrCyodKQJgtxIbQrPBXnFUkPeOiuZCZXLP/P4OQMXCEgo74BJeqsM5p5X54UcwGqSYYACMybTIWJXeMttGk1RxpRwhmVJQcwvwcAmW9g2v7kECMYzSo/uuGGAmYtmKkkMutleIdnl+dugM1bdrFGP6OR4UAeTrfFVOqIbnnbptGsd805+pNXskBxcgSipfAuVQkYm/2l6a/L624KE81Uuh8MakBwn5MaiqdiLA8DS0hvIMeWum6HcyYlVYLt+w9k7hvGynu68hBcLKkMeJiHtt/gceqMp6tFCWi+xPcy2fWplqf6AFWJf2zcQ5iugTtbZBzMyREJvvv7RkRlymboNsdpKgcqalRMHZEQmDZ8jle6sDrZuscV0cMlEDTOOLR3JzyP/E9yh7yBE5B9u3SIzhKhbHKRCCFWq4x4xwqLnqwIwSF7sfOhu+pdkb5S1qpmP3kCcl0RVDqE7ko5MfE6lAzQH68nxGlIpofjGwj6z/w1r65Scl6TOF3HKa+Nf+wLr9yZU7XN9w4j3M8lEgEMWfgw0eTvK9a/baJS9y6sX318FKWi5G7TlOPQSsaQ0E0qZYwkYHzN8lo4LrlUabKrB4JMsML/89ybBdEnMu+8Rcowm6dja9uZEIFYlHMwne+G4zG3wQIAuqvJlIEqTOA0PLEB4tRu9vlPFo6J9FJtqee4mFqZ07uAfCAsMctqjGQqcTehJLrESQBTrTi96CDSPKEgK04NpuP/fOCoBQhY9Wg1hPH7fgIg5icZOupPiPtAzabZN0tPHcV6qRE8RJwpR63SmMKR3F1SKnXc0stEwi/KydthTbXz0TAzDw+DRCmIvjmWNX5g1bPCOgw3uAWy5SoPNBFU2hhdQ0/bwDj+YP65Zjouu9Cv7NpMzjT/11kRJd6qlC1DR+3mmn87nzwWQAojoUIo8JF5eiUeS2aDQKBz9VWuJxbg9yzBzimapkyYPnGi+rf7w4uDDbnQYw07ClU0v79X8ZuSL3Og+46PsmM7aN4mjNR6ij2++ia+SN0GgzocD5jplbotmAaACB6FQlIffwCTxqliaFFmVa0gYHAUNh8dUVU/soRe2SHUalyDYBP8C/4SJfVgrCDy9ao5HIlZbbMCq2Uo/30URrZdykB0WpFfjLfp/l0kEwqgJUMD7Rvuioos5MBoWK5A/27k7m+R1NCWeCmFLVnfgTd3prkw1G7vo2WZ7oHk1k/A2wm+w6AztOXXMqOeehVPGRhzu61LZmJ7BulOhXzByNBxhsM5hgpgP53o1EkUIGyKSynmtgcN4diWMZLIxH0X1I3/qDKrod5Jn+P3Y5BzcHdMbQx0xpR0/gW3jqJDaPe5Ua+5QbkIJaEN3/odUr8NMPR6z3H56/MxdjtSAqWK9YmtgkWrf3r6T5tYKOkhCDOT2qopA0q+4m3yK3GSbHFcc7Sp/PLdZCYpoyCIxek3JAeqpawXdQbA2R6iBdDtRutbycJE9CYxhbbA=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3" val="d48bfe11-bf42-4e0f-b5eb-57df0296226e"/>
  <p:tag name="MEKKOEXCEL4" val="635997057996037404"/>
  <p:tag name="MEKKOEXCEL6" val="False"/>
  <p:tag name="MEKKOEXCEL7" val="False"/>
  <p:tag name="MEKKOEXCEL8" val="False"/>
  <p:tag name="MEKKOXML1" val="4HooU0THZk28POP9trq+pbTvvzd/gcV8t56cq85kb3NDTsUhojRA0EsgEHHMH7oYP1SYpn09ysXVivguJdhTvfyVMsBLTGvcX7WPTor/CmXaNv5MOTLr3zs9jTduarTUC9s3irkwid/5l/gwF+9KZUxZakJF/y/xkkkfdsf+XIFx9GA3w/Icd9H4gtMPdV8g5xfW7QlOOZ3LFKwT/3TCMlJxmXOB71l3f59SKX+fTpo+ZTwPPHlqRg8QkllWuLvHQCMCPPLRP5hVIsKvCKqmaqO2gLqwxWNPuo0eM3CGyDATtl8e/iW8aRABfIsnoZ+BfO+yanWWwFXTc0IwYgdHNUom5VJX8lhFX1a17XMYrOnr5wL+Vl3WjuvNI1qpcoE+0gQjHAHL6v5QOtPKn+wXu8UvVpuVCTQoZpqiVbhBQPQLcLd5LKTzlWCpVtaIEWvawts40ODDv72myjrlRQcUvchjjyDua6kbFQcCMpdZ9Nlh561U4B4YY/sdGF0wnSkAVfIILfvert6vERGpO/i+24A8HqbEyA1Hbfy3DFYd3PVNwRD+65ZG6CViAzgGLpEoV9cvX/yaPxaFub+ynI2IGL5AjHpUj94yCPPvWRAR3MoDDRVDz81rvX7rLh+8pb01dqgyBY96ReSGvhPFlnto6WBHzNDLvYknHQQDl4WJrfBiWL0J7lj/n8pdVzi72fbEonIPWNy3NjEIIHihdz3uvqIwIx9qPPdRYLUe2+JJm9ZVsF4s2ZztVhcCHZ3CdjX4aApvpIQ4QwEn2y8HEsvVpANTH+FNEJX4U4wxE2PTffPuwHyDbd+ptYDWci3wfcVDMXNJ8irfiCr3YN9260P2DxyXDkL8Ck+NGzy87FnZbbNxCp32RRRZFOQ9SLkWlySfaPMUEWsOO8psRppewKdSlNjDVzY8Qvi63VX/Mq+RyipxgS+diEVK5krCji/Nam2DF6ZMIVI2idoLWN1c/+EL/ugwcHrBk1fCkU1tJxrWycLKmksT+ltRGbvdiRGYAw2sUredxccFsueWYrxJoVO9iwUmFT4MDdMYwucaTq3VSqU1OoEL0JA2mLMH9TNq+Aoo1wB4MlHYUnjlqfCD8aDIqxW9p/AKlLWV1W8T47A5C/Cm0xKr9ybaSBkqiQYTk1IfnqCyEKtebGxGzQJOEPMl6PC8dIojqR0HPImQixxlTwX6rLW0mnhIx1vZ3We/+qMFEcgcYgHh7O5ioA+wMK0hJ5/mTFJp6AOWxsWYCT6oM2zKb/FE9cq/N3yUYe1+flvXazhGJNt5uzyBFmUfU/CKTr32TiA3oU3ql3sdK5N7Nwfr5FxksnRrjNMe/FykJ1SJdvzwKiUxC2nkUdOJ7ARzTF9ukznyFOALWLMfypjAS2UDR0YQanqfIJhyEEFZZxzKYJJ1UnNTxeZYgR1SPf3FDHtK0mG15GNgs1fhpvI1rDr1KM0EbvbV3UH16YQ4BzibdBTgAErKwmcoyPe+bwOssyS8T0SBz831g/DuI3uQvfDg+2K7VGLxL/j+BGOjgkiHEZNGrvBktgb79XDaxkIGGTYOyjPUedWLdkSNe8joJjD7Ey7DTKu/Hk/sGs6pJbtwYoGF1a3/q9xCbPYa20xAmAer2q1y4RoEBOc5L8AiLqHlcMAs9XETrVOACBVex+4B/kyfEr9tkLUkgYs8Mto1cO8ypVxCIQlzAjJH5wiojkZ/VX4c4VN5gOnpJQCe9Z9DKDXAmaWWTkn1cnM6xRQPL2prBKg7gwuzGGE1qqpUlSMikEopp1DM2xS3Ymr9OvvdSFcBR/MF2UtCI0LGl4AzKbdbhVVGDwgLjY/Ij+pExNyEavakJQoT4OIrgibWZFFtKWkJTXv6MAFnDVhr25+UBw2ac/1v2pJbS/+NyzszdHLmmj8u/0P39jNoMC/FwfTO0LU92QftAjszsbWcK5bYgHfUo0+/A3SZaIEfpuCPpqEJrIGWyT9wvNLSBvKaU1rTTrYfuoovCTKohvbkU71QXWeUV5Ry/7XMFWYLc48i/yjhbp8Pe5iWW76TwYk9XlHhhk+dqIwETNJ+/UlJMoVy3BvdgQPzcldgS00eepZ3ybNV++daPD0wXafLdGvr2pfcPaVb5uIj/sdtpz8Q8xGGsqyr0hb/V7uP6/oTQaMr1V8vCe1WBWwyrmhSoZ8mbpfXs9EdPaR3KeLMBYvb/FlldhWoVCKIwLnB3f5zLG8bBeyXqrDGsE+hCvMf7N7aCMWoiqR4RpACjcxiy5NocW5CTzFAOp3OZryE+hiRWGkgSvCBIsIMNjjoHoxoZiPFyGvofU8YIh+UaAcnml+olazmPPhRBAur0H7qQVY+j29z1JHn6jX9OUBsqI1QvZv1BZxyDhZDHzwk3YvJ7e9I/wha5btnXWn/7PaqGh41TdI58Bw/AJiXHCiUnSbyG5QSLXigaJOVa1/i9HxnOE+erKaG0EboWuZQsApE2ckoEGct20hzuc4yXyrAZQG3ohIp+Zor4Xes7DSTnx3xVTsZ7s0BMRWFPH3OYionEP1eTpJv2nnuUU+AJ+vCYMnMO6BzUuXQjMtZWVrOtFaqU7+ZikeqwGJpbD/TmrOXB7WMoI9KOKpVwBHN/j/qns5A9Ret6IRlRw8eiy8xbax8DqAwQ9SleWue89ah2HtKP4c0yBNyT1Ak25qgot9jPGZQkkOWavr3UxaTIQXjUSdPVbHghBKEF9Ly4Lo8GHG7D3/gOzNqbVuhgnJG3ehPRJs3AZCi2VtmZQTttRBZe+R2kHKPOaGje35+KcTffSuagItXHOdNjYyAffEQqep8RUSJjfjap4RaClajW8ZjEw5s9vsX6T9ghiUAfrxdgYyNxPUwJ9TbU7uNeznJseNG+U44YlbqT/xABKZDiyORXOrMDaVuVywOR3HG7ETYy0vr4K9+BXc8BDSFvdBmPju5oczmklqTKvoEwAonIoBXpkrl4u0Iwcy9WaRZP/GRgNiYkkjgisxLDIX2rmnS8wZCBwxacjc1gY7OBJKAGC11A9/ZBXaEm3JULdG/tMJ4E/iO5xL9+qEREhc9bHuyveZ7pybW+Faxy7y0gCCJ2oA9IgUBi20DA6WZT+vCm6U4akRMtMi9BE6lqE1Lj6tj1V3hqJb2dqqoVg28XfKrBAJCUa2Kj6d2m8/FSE02s5wKh0E+AnnNlUFV+TqEOtK7b4ziRHLlKUnX1xnyGeVhzHiWcaZW/4SGtbkEM1ef/pdlwy+sGxgOgRayyti0vcGzi43uX4wL6xqWJhD9QVHLWiMebsdhzPr/ewsM4B3vExLdSB0wDqccUoUTKVgxUAQRRRJ8eZyGo6aDtDkkD6tmB01j5MYVuv/tSPrxCTX0+BZmXdBrJZxSzA+t3JW0mIqmhL0BkETnlBiYYnYnmWZItkCO57gnxLq2Ms9rfQYx0GMvTglCROWpiPIBfEzGYFUlAJBFR9UwMpKdXVRLCMx8qJGln5ZiVQ+U1D0OXLQk1ahx573HPrXAY3ImfMkdqnSO2yNM1Xjs0k443aMmgjY4L72LkkW0QIfwOmnvrxATXv9FleIKdnkf/xHdzI5bQX9i00BGVbfw2q+u5YLcVhpDUmTjj2ARkLQ0Haf2lfP0LPvr3CqKFqJKK184B/ARfieruaEjsq9Ix46sHOUlYNeZuV63T292k6NfaO90z3ZCdpiDTRU36OKT2Vsca8iq9wCz6bzb/42cfY3qIWa/tW4XVSiG6piLN8RGLd2/C1GDbRcsN1ZRqTYR/zbQ24miDyrTiU+vFifE7wxLiCUpgFL2NKWpl4hlFIPhpwTWQfTSlyf+tVr0Add81g8HaJ3ylROf0EVs8lIxp2Y8pCzX+xseCU3/S10zEyU3Iu0eF6IrLbgJ0Af/+2dwsWUitRPRPC49VDOdoeDqL52PMyVlncFsC6YyXbR74c4IBmcBT0ZCft2Vmkf9DJdJRCVLS2AqWeMcWjZ6nDFxZEl6a7Z0ZTcERTA32fGZfgA+4k+6kQ2Iq/iHyLhPOPsME1lZFjlPvE3caq98OIIsSKqXiKtGwZFkCaccnX+h4LeRrJt8uuVbLoWoFlJqilVUTWyhYjjYWtzDRrCcaVhMyXQxZCD/BjIblmQ/Tt+CGMGUJ7ZykmrczKZP4x6e2XAn+CVUFMBiqSYnD1DZ8EgsjTRdaZvF14QVBf0rFqjQkMFESQUb0N7aYIgb+OFJ9qu/xT0MQ1JycR7JHzMUaa3dK4huCGC2pmYkIOmHCey/u8AyTepwcFZAbvbzhwTFD85csDeaZ+Lu7emQTIQxlVSXpPhIrVMFDsrC6wECDvRqaR71PdGz+qCA69/3LnneP0YxYELf38jRANchnmoQpkSyb6MYn7IsZb7bT+2DRNUdeT3EF49bIhkc64RlA/n43htrYDCcmWCsE0QhDaUbRzsJm1gDjbO8GH6W0s7ISnf5wKv/tYj64P3dCFq1BQxHqGbHicGGL4cjyR31tgl/CZzxgTKoOId3mWEcsmmyROAphSsSEEhfz3HQwylAFEPGpFLeltcXMYvnoxd2DnDc/9R1oUARwfdo3TKy3saHn/0OlqRFMuJC1jH5DZ8f0Qc+RllJjPVAy06//6pgzkkDgOEK02H6fsl22vZ/2xdn6+USK4lbrWYzDzRqffYICm418WPgUdftP+NYRx1PlTe8CJKBMTMhAu7ytBlc9AkNbfDzZInvSL+QDuetVoNCclFaxNKilhARgGgAZJMahw3xuNDqz3AsszAcYTZL9gD0saR5n1KCrAqfmXZoG5654i6Hqlj8JbolGEyGUc0FHTC7tALaUxVK2KGmQqxhAYhUk0F1iWkMm5xrfkBc7DXTwz+wYy/vLPl2cUn8Ac4iqGEwTUR61qmCpjZgn/j8q0lBF/lQSW/M8k+qkBTBL6XD/ENMpHiKtjVj2YUGVF5G8kmAMlJAzdtm7vMFhh+32sHUmYK1yRowek+jWrFFXyQzQFDRI7du9ly2Ogtz353T4cGrx5hLNkWxTksLfT0xK77RMsxUy7nnfYNfk/+myRQULL5PMyC6aZeU4lqMqO+wpedn4Ulp8PxNNb42eg9s8oxwqzJrQK8wcpGtijqHmR/yk6/AuidVH9dlLrFwHqqmHwDNpg0e3tsKS8lbjb8zV8kgX19vqcmHStDjKzcZJfeos4FA/KhYvHpF2yY45Siahln8X0eFmdVCGDvKKlcGM/Y5y0h7cGZ/nxuvJCrgg3b2nECLPezvnFhPR9BpVXwHPfMDQ+1oUT/gBHqe9IMiQLCpAh6eBZJqgip89jwyWaDqL++N328048PMopeBN6/qCfMc9ZWlzxUsvwSQpAQ8LP1iYRrmjE3aGWkX9hW0Lns18/9dC6C++XXEJoLKUOLvkC2pzo93gkXu7aIQnlRX6dmRsm9b1DSfBoXk96ng/beQXQi2vRncOIkseyuMp4ppNV7G8D3y/J5hV1RdlZKCUuyKFoZoE+dX9ZwW7Jjd4Sr7C4HzCWuD9C/c5/9PZqvJegjH8XNc59Qf3LTf96Ir88bAKhM2Bno9WeAZXNi/WF/S/zo4xOs5W6UVqIT1e3k/n30BRhextKFaxGGNkx2g/9oYn+oK8aw0ymDDtGcqjnAfr8E2GwkC5/nyIEjECCycxEHUh5tgqnWPaOqlNgIruHkuDt/80neiwLfsyOJ/P5PKMDZdm4X+yBt5ZdHlVh1qEhf18B5Fwe7VmpmhYZBFLqFRRWlPZWLHTOMzp40EMpCYodNT3rnBJnQOBCoooox0eygjMGkVC2oXmz/6MCU8oiSN5BN4FohZ9Tyls/fV3v+dvETIm0mOZs1h9RmKjQDcEqeGuJME6F7tH7WwYofs1oP9u4wZYaLqXCFxShB2bh9LwDYYRC9uBNQ/0ssEZQ0pxTlafvbEjQfcCqYbQ/QX5BnWqCZijBgUgbirS5tqFs9v4EcIlmmmoxi9atWVDAb1G4Ox16j2ZdGYa+orhk8nJLMleOwwUtGA59eRy6fqJTpWeFnD7NDXWvmkEPIXENZPR8osLvISJ6yclJGpHcebm+5kvaifkcCJyScNe/t0j99CI7TDXfwCVnTzM8eslK9j9jLOn//0Rdd/Faz0p4R4ghLVBg+mgdHzuHqFX1SFd8RFDSZGzloMvvM0VhFMQdw7lcSowbFFfoGrvEd1FuYn6tBGL581IDtCd09zut2CT/R8IptFEUanrfkBnBXixz+5wIdDIGbFzfUT7mnFdUSuOW9UqfByzZqWXPuLi259QJWM9EHi0yKTWtOWFrKsRbwmPIxMRAqRmaiBMeqUV2OB+BVnw5hDU4E1lbutSbyhLtEu33RDdKkYigcZUV5iYqVLOeSmbIerehUtVtEv9C2bnQpBkCRbjzQA5RZ2NXdlcta9qqvJBFoU22Stpo9/1RW5dbALiEPhVsB8WQ+p75QxXLYy4KdddjN7jXxFF1xNM1nFHfujpBwPW3OODLTsNkb6LmfzI1483FaUW3X/iJh1ESZq02xWaDXjQQ8YZ5fECJASV4ZCAWjP4742+4FUrpGsMuceRM5lCLg1fmbLPHq06MKY1WFyb3W+H1bd+zOXfrihsUpBm2KnCyYyrOLZj4aJYtwVUANtQS5w/dihKbaPonkdvqVs4xq+6GyshryweMquHue1o1Cg2L8uE/kFcWaWysyfi1KJqishAAoNqEQGj3oj5V4Ta3VNseZZ0yWB0BUndtXLWPhLLvnq4Ud/TFmmPRcq4NnpMZaIP2k6SYMtniKOe4Obc0hffstjcp3vdQ2hINu3p6ohhkR5goWIfcMhZBj7vIryT9cfCZupqESkvVXeIDlKJJyMeXRzsJVKHuJoESOBexKXCNUUZGXxodE9hP9q8HJsXlFv3dXZEyTeBCeh7ksjl/bStQdU9RUMpg/97rDaeguvjGSA1+APJOpFW15lQUrOtKst5vrqz5D9JChhJ08FcDE/HJfv1nTstCKfAa1z6G2zTeeTlwORUinJkODhE++vkbbjXSxpaAE3zXCYALNw3NYIMmrbCUwnlrp09QMeXDm3+DFW54W80T7KPDrUSXwuTBx3DghdDIN3jzJ2g2+uOq+YkxSndb8pfbpFYh8VijnCxrNvBztPri6xtBd8y1EZV1+KY7eivRdwq3u0j7wqy9o6Yu2hKWwK6AWGsQrI4MaviY12p5KzEt8pk6uI+G3o/lm+O2k9z7w4SX/EGTXAAiyKX6cXZug64Lb05aG6K/4hZuttgTNJF4iGB1jj77pljQ35oaozI4wUwBaf2KUC/Boy6irVnxztZYkqGGHYZnbUuwdBxgrquSFdWm4ivjNWFeBc6/JDrmCqBvfPld4ncJk6Gyl+nSZMgVFORwI0ejCABR4LE5BXs5TJCI3M2K3B0Ko+bp5NZMPjRwisU+u8KZOq88AOi8aRq/bNAwYzcrOdA4EknNRlIu2yK4XErrgFWxDsi99VpxiWwO3UZqFqiXYChniups5L2s1FKnl9+IP5AqvVGQtNnWnncYHRH6pNu064i6pcrlJtP/T19OK1VCKElEI9Zu1nSS9cBPIFpXpTrU5UXs2X4liXARTeprxo3cYrFX0Jq9hVnI6uTcDBOvbqbYcfDvngBNmZ9ZUhLd9vRFNvJKJ6l2R2S8z3B7QpXEKr8uHKtLY0dQBSQfVAc3QG/jQS1Unndune40z4lNcUryOcwkw12dhvdhituAy7i/HPYEXKCwdJDu5g7W/4JsOXocbiVO78ysC2k73jpgt1tDONAPIiSsHmi9irf6F35H2IPuFdCrD6nVBzqYyldk6UkBgGdOD7t7ZAslRNaWJQzhQ9HD7/YFCXYvcVyTcBdICDNFjYstBUgdiMlyM5nM3gdj+f0QseThqgbhKCWkHot3xy0COun0j3R8a6DCEjegH5EreDp0fa6v7X2Ip3O0wUqFc1pu/qlkpNmwMWfzOOvNGHMo2cM+yunMfk0EsQyTpxBw/49Q2KYNj5Il6+f6DhILX4WZ8jSZFJkov0ynvDzwTmtN0//+LPRPLHgm9HUE7rRcEfDouMYcfpv73KgU1Mqt7P8/ZgFJvlWNoeOxX9bQHVgNtbOYiiJjn+8PSrZBfoD7kZCBiLttRk5b9x41DX5rvY+O02ENuDCKbmlZUYTA63B95tati/Sw8Epa+Iol6WBMP5qK1fo3VQdNc0kdlvFAGErlicYSmUw/EMxU33l1BOoyb9KE5wakwmLsxWxdJlcVXq9DE85I3ezPAR3E/VZ4DQc0ouEhJVizYbOa598cMwfBjyr/SBjfDSSt9cCoVJ3HxZZKx/cS5JFm0Gn391ASONnO9Og6fUdxTNCNGaDZptqUGSfNRrEr7RAFhaEBEJ0G0r5VVVpt7ecsbdBEgF+YzyU8fHe6LqHdBAlx/dPRhXfBp7nSfWKNyqsI1n/VHhE9z+lSQKK78nXkCbTS3H9DhkwYAe/qX8XfWXMY+kprCLF9MvcZONmK/ZMNkojlyP7EzT3AS3naD8oPRwtL4SR21phX1dI+Zv0yxhKrPDxtQCSWVeYmXcqLEfaCEGc88tpQSNGD9iW2o6xKafe1qGxZEHU8QJiR60h5YNq8DDtjPG0t43RxhHTC5txbvWFktAeFjWYx6XDQ33iKlo5mpkzEitQhDobHQXwbd9+e9SQVI6oczIaBuPM7Ma5NL0tf+LweJHd8puBS6Z2Blzu9yCm5V2FnWomNhrMJYRpxGO/T6OWzeAnwCZ2D3neG05VE5dsxcEjvnItVOLNLiMZoqdtDx6i0Va3seXw9uv82uaEwh6uvIdohSOdOTJakmz2yk2fJNk4b7/iX7amLsxnnyCZT4/I/BkGuxUkNCAaWDjkDNp510IbPTglODwyz3KymnX+dNXVpPeKBh3HTX1yTYWpBF0BAHGUThUloRnwAgd06Nx4tV3GTiraQhRJ+AYuNkZAhJ1nR5b/5GUijvXl3inZPykVxLRXpyKAxkdago7UmRhOfVP7xHmvT108k/0O7mVrCGa3sNJYpM88+JLmJI8gZ6YgQyej+1aWn/ZfXTEc083P5F4nU8KXXELkRJROhfnjc0Whp2uRdVw5YPGxn44zg8fKIWgxHVZSPCaMNJ4x0S9s4SD6CI+1F57zxD881/sSjFlc8drVJGMALB4WUGbeGW7j9uenlcFKW04fHqqg7lp7vTsBSYLjsMFts4gOt7m0TIp7rNDunxb0bVe6tbhb5y/rN4m9fBTToex2t2iWbDkNB5iO+hlUG6DFcthrxFI5dhpZXUuD59hsEAiBVEiW/6TXMUMwcWeKlMCNRJGjeukl7BgS0Ya8wfl2R/SjiVzllPNg3EDHTO1Wfgr8Bae9vPQqIzqlMYDkNWVLjXDpQXK1wBcZlDDiDYsqVisHiwoJWX6hAgDjeB0ys3E+jg8z9nj3MDAkGbrO/W3safqySpj2ONBxfR40cTszdWBp8/oJt7lXzK0eMsfPHArObrVI9fZcWAYVjuGCDzwbnsrxoghmpSoH5KFkjpgEV/eQiEFu0g1iJTrDGR8iuah2gc456sxk4/56EQKW/SwSPbgdeLJd433qUpD6K75dInJaxSc+BO0EIZiGqZT74BFWq2fWl+SX6BBPJtimL1mnZG1EGwX9LjRvTIUq8NPVSH9qlXPebPpIwWASfED3C9HnCr6h9Qay23+JuVqz3ZNXaLXR6PQzGYfkv5+1IeftawW8qC0+iCA2qKTaZ72A5SjpFLipOVZ4bPCCiLjx1rO8NGRXujrHXTbrc1QSq0u2kVCSru3LzlK7xZ3pWcZn2xtSSSDidVwtqHQhRZe/OgPzsrYRPmFT7v0Rb+9i/ahDZ/aH6gHYpKoOYp03HR7L58j8T6ZcVNdjrUb7axvcBpvJaAHu6NSTrenu18BOcOxyFlsWCR22+0KgFVJh5dANBi3nJP7h4h3+68Iy0kIl0+IOuyY5GG/t7X+ohPzTZKYlqv3eUR2vDRT9tz6EvhrfNAG2LOKpIApqw09bIHxjsVK+D1csbuWpOqiX+4BsCkY9yh0TN5XkZdzGb3KhX6VjBuJprmYeLM4YZcoow1d6ViMrTujaYgPtL4CuQn13H0jr2e6K3MqpBpr97Gs2b8bsZAWd5a0gaVG+TXAbHVNdoraVKfDP3iSdH7dkpLIzdQ1x9sIXaod/CSGrRvhdtpc+GoMmswb/bSwGd1VGQhXjJTswO9v4Fq2DCwnNvXG+2DBaUlTTrVCbvK9Ml6fpLN/8qJD1yNecd8Yua8EcJadsA94B3G62As6emNSPSlQSpIP59ivKZrIWFecYLYuyxXHzMXZzPqyROKmQeloI+gL1QpsvZkDSwlByud+PO1sZr8cBBvttc03ITncdqA5qKbMMcX0kVGTzt1YtnXr6DvVjqUFIEtc1qCsT5rKeIvyCW5MECO3QALNObtNebqNlUhiX+sHytG/Ng0P8rwaVjpcq2YGh4Rck6B8WLAXv0M4gpKFDzUd9k2NHMUlvuCjdFsR4VHF6/6HmkKLruFA9dlJTjpchX92EcU+CPw9vzlEXxXnW0IcIPzZ3ltq6NH2u0ghlYIcVrDVwXPoeEMZ8+peMS05ZQdkjn63PJqZ0xkBdRBfAQ/na8dJ/4kFe89ip3ACHlTp6HNYLQfA1BIt657eM2nKhERVVAFyxNs8NM4YwLac91Oc6DDi/mWuxQtsFLS1h6vP0Ie8vzz0KRLYgxfyi2Glx5z1YwwWLnQJ7QrVMaMijjBe6kmu/8g8cnPPfD9hnoQL75jvaIxiAsEwRBZECjLekPcAy7q4PKtC/cL04Zjh45NjoPMAkRMFIgd3ushi36vXsoiZYVaDn60UKAEcC0w/fmQTVb76VFo+GT1/dBFc8ELD//oJWbn533x+yBDfHuDvI4+874C8Qv9UxaOSkQebDzsxmHzGdJasvQ/5M4mfT1BhJzLWd0BfuN09rxwlE0SLUrnHb6ZwdzvX/0W4qa+YswXSI/kwSEXYHGCphCLqU07IiKc7UIHT1w+AFJDIFC3S0N8+0FsCbt8T9vAfExwL37+BBd6HkeUzo/cBXPSa0yDylKkSPy9+XaS4RUb2UUX6Xinz46iYDB4sF1mdrlXN/VC15r8C3W04OmWZyrEXQ1tBbLLvZOgT1KpIDzNrYiEItoa9uWYsDsLOGcY4vNjNupSz/WVzkGIq4Kdp+MZqtKOfP+UnxD8swK0ibNMaVYxebHd5PzJpyXOakU7EF25aQGegDrGYhOkzKSVY8m0wfrPIQsE1Z8lVC8/faOrX7OEySp2OPk7a5fQC7TpsOX9/uw7vTAu9D+M4g8Xk2HsqWewmhVK9yM5pQ/skVuQ4sZKsrBIpZnEYJ/C7DWEHYfukSdUt37VV2wpfJo3cAlqMZH3q5Cb7rMkb50h6kOqfSVR5QBDHiikSQ9ReVa1Qp46zfccWR+XBvz2aHeCxVNk3trZKZ1oQyPw4X46fkdkZ2EDoh6uzLZAprhJy10cLEBq6OftYNIMJX/m3PvC6w0k9RFxG3vBB9gz/Y8NZvWs4EzeVXXb/eDqiZwptQuoWD1YPV6ag1o5z28vzwjfnJEQmLbdf0rd22Z2a0VqXloL1shOcrRsyBo0MxJLE+e/QRXLLRfnhVKEumJkFgS1ag+esUSvUOqgNjjygO4e/g7jIbCxpLbiYWRE4w4KW4TXBASIOig27xJSDDLGNwUQjF6F0oT2bDg3Ya1/O+LbHJXrUBLpyN9CLx8CciAA6p4JD29XF6hdffQQq6hLLGWb9qG3E6F7fKuj/+kPk6Gw8nJgW+MXj4g732jkMSTyvrhWAPZTMz5nU7KmvyDFNvc0Fo2DDD2/5EaCcR6fAAWUZ4WsRJ7f6DPcrNm1m38SjYv9qmAEaZg8le78NBvW9jJPz4TlgNwYHUthxmMTFr9Ik05nUd4HmRfyQSk36qvneSEyopKEIFfdfgBvvK8lhUiEJQV7/lgU0DQitaH/Vcz0qC3l4lahAogh5509AH8p8MujPVuweF3EE3FiDXFlFXQvNf0dtPiQU+9tYq2NOjt1TcDeyn6OvkYw0j/YRBddWDPsLKGFT5jUc2J1dT7hWudWjb9ZYxwZ/75WgegZVeCUQQte9JfLDAqkoPTcdwJa04AWw8jZMqzokI/f1yPQn0QGwoP4Gaq8a7scnQp8i3YvabnxlN1+fvBQZQw7mgIJAA/fjiNnX15ST/lissLxPQ5URcPg6RY93QHI2dqT3RQE3aQh8IPHDCrp57Hi8UZH7PRr5tu+5iHfxKzoUj6nnzLmUY7CErDXOxtbe6c2r/j7obTHFD4baPX6LpuBI5Iy6Ck5aMdDg+ze6z3ya3pPHT+ZGI1LOlrU6OeF1EadHiGqWB9qLccCtWrUFTnpmBHcAMLfg+lgsITkS9FDX6n07b7Q90ALuRdSa4o2EXa2ThOEs1Hm/BoNXbQP5elI1k/a2lfVW1FZipgzGn3m2uOHJ11ChEOxkqV0aysKouyZvLzezK9Tb1d7HZJeZB81QiBckcPBtZ8nojKN6Bk2AZQJ7846wtOcvY/y+OX0CsYly97Q609hAGR6dX2z3wQgudt2SIf+ODyTuFBK5Vsn1nNvV6WyI28izhko4voo1iGcbfBR4372N8trnEKVo3HtVR/+2/RvYz0ZW3Un1mypl5Y9AurGDVsYcJ9KsBvtVmhCfWDIU4nCqdJPF2w3Ci5TTJjDoGyhPcwRuYoYp7iaDNlK9MEPWfYROCRadioCZ//TkfpApYJVZXJ88dw1IiDx961OXzf91CtPpM8WaluY2Ye1lOz53Ofjc0EfghWdC1WF0I6uBsZhQfqBynVzs/fxuXpLLL9DU2E+SL+j2sDrlYbZY6fZ/VF2OL5Q5XnlBBwbY1h80m6dEY8+L7GXZBnLeJQaUNgZD5QG7dDipAkGFRffSQEobplfviNWRBSF21yQGbQVbUimNeDgKxiYmQ1QAgK+nw3QpEG6kkTzOp3bNvAFme6kO8iPQlI6Ap8TEiCVxH3OV+5xbPn2lAWEN0cTdw0nIB3Ui/gOa6Yun3mnWMfmY1lXfJYkbBuC9CiHRbNrN+5Q+lGJRbW5+aS9qQs+XVQSZ66QIDuHiDh2KWsJyeVcADIv/3mVfiiRgTuV36GXZnYE2sh9M6TeX4EUR/xbxKrs9uhL0hoOdjTv5q8eT6eIZYImQ+Lq6okpqGvus+Ew26f2OVOgdXksvgOW8/SyO+Jy2NBWLHpFajJ3Btwex/oXwtUz8DRlDfNSBolt6WIiobQd6jcTNtALZ4nk0kkakxG5KfJUqJMZpW9sahN/61s661pqT5jBSJsNQ83U7jlg5rP5ZINXOqxVCvkNUlDTR116GfXSU0weDbFQcq/MyyJzrO2Vk81TtYn3NoYYuTVl0d6nDiHEXgLGJRgkSuFSKlYt2sAWpWscV8cOJE4mIwer4ADVWxFjqYcTCcsI4u5+l6YD0GbGg8HFS6/slPr1+kIhvHIVldYetkK5sZymkhzy89XhFfNGvhr9QcgNA3oBRLI2E9I9iFXd3jOFlwXowwjvLMolj27jwyc/3qV+IbT41L4D4rYIaZEQ4458Rp0Kuwz6Fqm9D08xVos5TpOF6m7WnWDQ6ytRxstXo76/zmu75onL5kL8NYSAkpePMh9qIJmsf5J1EY0ESxkBZ1//K7RayD/mf4JBlx1Jb4/suLifGMt7lmqf7uJSdJUMRUU6Cj35CJcEmyPlaY1G2QoOuyxLO7UaV8ig162ADeFyc5NmtuXON+xpm7T1exlOgD1HQ5xO+Y5ty44+S015EXXjPs/wS5dpEiOHIV0oB7Hy1OynjINceHCERXBIBgkJcS+3WQRPW3ZzfdYsu1fH7Pl/I7y28a5QUJkmk/FcXgsI7+yxatnds3xoq0M7mfzRSo5Etw3Q18h9OqudYbdfpqw1x04wXjvDChY2Yq1JorjwE7gjNo6p9ZQ7qbZH2dkBs86dZQSjhPRjLAAuwjwH/LZqotPDTC1V1aZHhQTFQEAnhXc7A8docRuBTb/gczd4cIdQQGdXyRnASL7m1qo+FgdDDeWl8AZGwIAY5g5et3XqzI2VLJwiIz5TwXDZ9sl9N+LWP8pdVC8/sVKMkEym495NAurCurYnMGMImMnrJdydoRTNvplzui47WnWf48GLmVrGQT2rmZFxy286wDRpsOvpbtYJSVetbjSIt1ulWNIFbloHg1vGmF8waLelwYK03UxlQACVn1XBLHudKY5SAajCv2tVbRZDagw3J0/k5pVNoYRxpQjRS62apm7mvQ5qJt69oy/jX/w8QJP64GciulEdpZ3zHSt8yECPIeuxE2HiJE8O7ORvjeS1s0Y4dnl8g5J7HYXsUF9jvnCErgzKDuAiDJwr4EYKA/nPyvDd4D3xNdaduxJG7sCFS49iFGMnASD18oRE+Iq8ACRsyZ5YYXeBmEijRnPOHfdb/oRKMKZdTRBHr8idy8d0QN3q5WCgerWt0uAH6SMHa9AzCGpRntySrsVbHt27DJ8VhOjCaRDNeBqnltljWJT1ryJ3eYxu1vTDZSzMgq9T6HEVyWknGOpm63bJDlzT36UCCVG3mx3qhji7eDZzTfJl0MJGXUeeKXfA3JcD7jX4WObNkp33N0/Wbj7DoAn5H5L002tnfFSwUG4Ui4fbr6K0x0ClZOErPM0OzP1u0ZqspKB15PeWvw8sC8RQfJLJXUImhstzsxsWsEtqlqm1fw8rxd93HGp5ofRl5roLCepYG2wW/MMPaYBySP5NNyS5EJT4w9h6ybZmuHoW+lcY2T8GOdk7UDgarBfokI6XsLMFkpF5EovlLGu2FmLrG5DhuZDoKVuZTH/rCLsBocHFl2sLcQ/U5hOS4vAGWPuYSmpmZZvkOi6aQRxX54k0Wdi5U5b8V4RtjyKNf7bBB4shAdweGLnIwepl/GMKEYi2MkTVlDTGsE0lD1joeMZUTxpICiml+tHwDEia8YdBUIOXeE4Sf3I+OH8Quvj9lIZx5aQ9TgAcrZey/Uqiqf7yjpGjR2CUtjItuEbOvcRPQbBtQaPCLYxlUiOvBGJWfDkmqhiX0yb3/FSZyONjzLOOZKiM2SJPfnB8WC6PPmZ0AafVlDlqbCT+SdOZwD5cgNJOKqTX6KTkXv8ZQXOVEmh2jmD0AxgV+CoQUE28J6jml9pUah5f1/K9M0Rq7M9xSzMHqxhLRfQTwdjyKhHDccQjUKgqoGvtOdQz+tvIA+lCk/wSPdzKwLehOs/D12f1I2WX4pE9+sKc8SaCcdRvuwoAtpm4iX6vzN4vMgG3PyiVlCDAdwbOXyi6Zw804M9D4Ma6dmbjhEcWQ9JL0l0XYUemeHDMVozKRYFzJmfPjhmvRO56Y85Yt7Wrn1IVgdB0LQ1Kd04dNevGDbr0PUE38i1f9NcZE8EBHg6x3+E3rkgUmOK+JRvq/bLykWwUANtpfEu1fC1CQW0apW5dkpAroCj1lZxrDeeMD22a19xR4h3nt6t+SzbUqtR5vzhbRfZefKy8Anm1xd4mDU2WtelktV07NpnrvU/mWTa1c38vps/184XbFrfoWUMQ8TlDH942dRtG1/IRGf1EbhonDY9WbE+fd0APUpsmpiB6hR6Ai7qRIe0juarLhm1uS223orDRIsbvSIpaPZ8bHPhnz3NTaR72GiuOCiz6E38O7wAFq1KzDeTUhnpG+gSPtniHkRV5xvxJvkTZ0px1XJMMBihdrET8i4bYvqoXSEgNgY4Nmc4QM5n/Z4XJTW5Yg0ZL+HPnC8k4Z2SbMHEl60fdPY15x3FaYH+AeeWklNxifc/ZHR9mRVlSMhv0Sv88tCwZfgalcIDAInNYRDObN7sso1FNE3oWmMeGlH+IkOxfInujjriw/ZpBmXBVUF9ETckm3DAddq/WMmpRQ+9XWMyBkO51rJn3/KV9eVyQgsrRKUXebTjMY5NDqM728rS2AI8M9ADtqK8EXtKiJyWLewWpy4ujKnapJDUDlLSSRgfejQB8QES+5GjI5GnKun16uXMvLIb12rMKHQCtYzzHBA8F01RkbGR3HP6Sd2v5zAWXC/uBvCrW4xf5BJLcCRRVSr8xcguNMFj7MPINSHgG5/aTNTwg2MS+xvXj3AJFtxlLHjNAGP/wkgEWCsjeZZnhYWbWy+cE7LbCl/EzAL5Y9v0a7X71UsYvQt1uuUoSNpl9JvaI8yCfhTLHu9quUI2LFjrr7JbXIIMlkf22hARXliiFtQw2iID2GSJ2hvFcqEtG63qvVUf3ZJCFuv4p2phzMIhvfoiEp7w6m+6tmGToAznYXNTulRQqmO/W/nQQj39Bmd3dPIL5NempGMAonQMjMeLyMrAfU7NWJ87383nlKvKriI5pZN9BFjM+5/QxpkSk9EZ8QI9kbOtVA+L6xUhnG90LMS9gNfmXwCg+Ew4ijXjShzZIl5gXt3Mo/U1mtoU+QcHhCdZQgHPmzM3Qh1c9ozhOinWIpwNNc2Oy6nnFDrXxQIijEWmiSepTQqEQLPL8br2R6Nq2HKdvRT1rDYY4ZP0cHqigWDYcwuBtZbIa+/F3MMbMP2HiXMmhPAq2gA3I5S/VfDf0VbeZ4RAZAhVSudITyOhAI9v+1dyleoy2miDSBtTYT9GABEf6UIolOuuICG63rvXK9ZcqtNDbhlevaScE5pW2Hh6b7HFXY0v2HoJ7M3PhOIhTcuUnN2HDQLDUf8iEy9otRtbT6MlqdM24EEusD+glDzYUU7ht8KHXuq4ZNNu/rlpI58kjwKdTeTqc9J9G/1IPXwLvsD5CQ85jOcNA2uZfQDcGlny73N6gRuWhV7f0lp7HIYQNsXrfLfSlVWZNiZUseCVvTCaHTc3QZ/guK4Y/wxoSGG6mjEb7z3nKYTqbc0v/wmTAOoUrRXvxqLPkpWzgXGOwV/sqm8CznyfiptJnYOUZguh32WxLPwXhMHj5b8UPwF16zayafkk7Qd2hwxYMUNs2eutpXjTAwXkF/ZHEg3OL8qo4oYPiXjiaY8UkomEjlB109l7dstMEFOpKa1ekrHOnFQQD0jXszgdez6oaTAUVzVCo4M8vZmIqxbKR2DdYcax4PVQM5dSTwGQFvBye9BYO1IrqvlN2XIlJczOM6a0bPtim7kgUVSIjIkhC0n0LqGQn3zOjGFAdZjJ1d7TE4HHe0DNLdqCNuyCh2kyYz1lIrKrKxm0lobij6UTNWftKfTmEZH2HNwyrzyvQMwkwAT6AhD/YLrUydu5f9by3keZabMavmzZpN/+zv+kP5y8bs4F/QVyOePPOmN7a5aXnGAVyrFQxHpie1aGXWZ8PgmoEdnNvzpisAYZGS817gOAN6qPP7ck2tOCRMbAodDrTbMVYpmrmwQ7zsnyuqGyu93Rx7qfbTTvvuw2MUETV3oh+CXtvzXe1k1qPlinRzq5/E9KEAmqvsKazqy6/R4vec/8vDO9DdVyxZzKlfdofr5h10vOUwmjmu35oHgtLbHN8JYBHfW8zufK55gA5ga/ys5JCjz+lqs2j2sC2qbVQ/sNHJICGzr7kOnLZA69yc6eBP3O63x37E9IbTOKhW/xw1w3ux2bSsLuiQsJTHk73jUg+aAXPOK5SRKuZAmu2+7Y+YeoFQ1ruBYiuaQU6e4ow3lAjrLGrs+MMEeem8zLs248aaOXxNnHK//6Nx1Zm83ktrz75Ow1orDnr8IyLnRRJ/c/w4yCMgx24ua+/MMO2LxlVXNNVL3w8MJrx6MSBmIJrt316zTkT38ELnoEIrWgSjZ+ocDyZ8dDOH3K1FGANUOZ4hshBxhLR0k7SMCAZ0TblUnzDqgnx1uffE4VjzToeNif+bMCe/EwaL0IqZOTA/NNha7PjxCFr4RIhURG1Z4g3O0gNogNOidlm2ZTeprLUae3rR69OXTHujP9DIMMGEcYWCmLCwcRGRmwCyrULmJuJyAr7AKWLiBFhtLSEayInfvSXuHP21++K2mRUA0N/K7+ym7+52RGSkDZSTePs5L+KCfi2eb61QOKpro2NpseZKEl68OSnH12wUrWIqO+ZvQfXio2RjOL10E6mUGegLMnZWA0ifArHT96a5pYeoz5qd4UwWO1tmCo1QUymiEEG13eah+HNspr18MtdMmJ6AUb17OG1yjxbPCH1mlX/yRRJQHhfvfMNqGWkeum9ImXoXzh+cyGVF8gThtigmxJUzUJC0Mi3dX7xSkNXiyKTud3GgWefWK2AQyVs1FZKHUkW3JWwwSFCxpez/4DqQrIh862wEbGNynRiohAZqyXFFr0g2g+7quGAeIwvdMRhNlzpqv+GRHCOOrUaVh2E6TTyY/IbFklNuFPKxM2f5wjn7xhMtiL2pPiVKr93EhcMNNW6/ZCwPLZGmVG2tkRHLjq0jEngpe9C+2/Z5pvtd+xcgUM4XfTC3gwA+GlAUWssTsqdtV1mfBbUchjo34JkTwfI8oFR2aqQyxVyDnGNH5efQoL9BFEuGq0/gQFuNJQ6j2pxC5yiShDts6+79Ce/ael1i7cN1npUKOId4koO7W8CqSetNIAleczfm1I3sUov0wdl9vTdDJ5stOq58OTj9eancHHLeogbe1nbxmAVbW0Gx4x019bxTSiHpTYrnOEuWZST8I5qg9bXPRX90w7vloWHrANsF2Tc5qLfUmSsZXjI+4IqelIkVP33Q/xE0F6aOP3waqiJUr4cumtjhgUeeNZ6wKCqgZ/b9PWa9yCkOR5C24AD3STytp6HhZrwyKC8mpJWmIZOHYYsA+Z3RkK2yrAu9ll4A/q/NUhavByiPWubuhvWU+APrnzk3NV/xSJnhRoGArdN982CnMN6s24obKsIG7uHkQVbVoEinlONfL7HHn+R5vOYTulUQea3EeAYOf7Y2fI5eyW3i36rClWRg/bL0RYw+6NsKMZcAtJNZtfQscT7xy7+JWS9whvUvnD98slZKqtjO2ksGU+A6Waarwh9y/JoiXpYgxQb8CuMWPwlVI3fF/emoGTl/ujaOTtJ1CM9s1kUdLkaQVUd0ZudgQvzAHsaM44YSZCYrxD9nBM7keQ8uAuGNPXuSil1uhvgGZKFSFxS7kGje1x34cs5r86RQsR+U1ew0HY8+1UQpxQTMyv7ACdcyxj15L5c1da08F9KJCGhkKQh6b74CR138AJLdp6msBM7W2opYAAEsCWh7OJyNu16M4zApuDXeYAq/BZF8LP+12Tv/kHVwZkrHlaldQuSmMqqU631bRZ/JsypK50rFKeX6u7np5BqdW1+fEZCt4MqGEDkZTnhkdoOsbxzohNdIw5LQLZBwJVX+vVbD5gMaMggI1t6aEdfna+mnlsb+es2u8ZzcHep3gWW1PrwpezRS8njHAHfq164Em2nrX87XEmlE/4Aj39OBc7wPmLb4fqgrFAFlXMbHAyjIjBXOwFYm22ZILqCVDqBlDqMpWeg25NeStTpin0VZwMX1rMRXSiQcKlROYY91heLQbTRYlfK3cF/qjMux0auLEvSsvhxUXlPIjmK9hiegtQs5PgueiXNxB1ATc50+v0eQgZTiumpJhSmefuXhZ0f/Fo/m13gQMp2fvrRsuoU+MxsIV9GAZsWYKGT6uuGsEl+7H0q+OmEL+bAvEq/pcpYMsA/PtJAvx+iT2RImVIPOoRu9irbi/teHZINtb8Wx6oiRWjKAuPV4/ZHmCWuB/aD2QvJx9omm+C+SFNsTGwsQM3+lBKO0f8lTlB/2krh1BFnwdymCInUw+eQH2T04wuQRUDqUqUzG+Gg7IjE5A02lJRT8MBC7q1UfaoGlSdcvJb1UEve8XfRtDUwuuSHb7mpPAtH/lfWy8PSlUNvZabJ3cZECtwuYn2tTK42QUdzh671abRoPG+xNlOnGYqSGdvDkWdMyckAnRYo7j9XkRgF17pPHRi88kGfZJQZaeAQm22NE6EscgCzAlcmahFsheNLy/PGB4BiVVnsj8d2MTSOaYuGCw5KaUsuC/4BXhr998i+OZgL5FfJMBsOtBIyj56TmMOjuegO417qe1jpebocnW2NtuqCmx0n6fmrrB+j40UB0CZbUwG3DPZLVQRHWGCBvPRkbt4NWPIOfAo1yP53Ps7NMchFbz8AHyuFhgCtZvT1S/+VDuD8HGCgOg9tpWxBvx9fCZdMC7tf4KfmAmlfT0rmXbZudhmF7i3IITwTPNAkblwUESW4p894znrUoRHhvokI/5BPg7X5xiKGxT7CnFmkluCtKkZda6AOTNmx/gShTZD8KJg+tSNkWpt8bQowid2phh3KKrs9hR/i1hjIPgld2rhqdq69VCRyHMrpOXgthmraSdDUnOXc7mWp84NJ8HD1embo2cbT02MJZcACTc4ljRdtgJzIzRY+dfjh0sv/mR19fIcnbkrNetYSEWMKxOnS6Rt6v3q0hrVNJxUkFhaWYplvQnW3eKWtB/ABV6IXfnICnA2CeTqroFW3lTKMiAjjAcVqXaYbr5bMdEzgzaakFl8hwO3/ueZwNoasWHShgoO3lOL0nU1tLwPUswXbjgKBkxZ3/wTUy8dy1I38WZLDQQFobfhAAz/l6wHLaOpRf5hY1JRCuQ3SlL9K9cWTXm5+C2LL1M+aM/ZdW1LxEFOeZhGtu0O1l0xQztL1qmStszpbvKEbh4xXcsi90Tk3foQd41+VYVRLOUlrgoKUwLJvogK/6uII8lbaOo8Lql3QV308kq2+bwX+Optn/ac2ogJ8sJxtCdCX/UhRu/k0SYLQwBL87MGyNFlDS80/HUnK/sOHNkZ+BHQWdT6RLbO+07caL+MVxNRWQehaP3DYzxbHDPB2m5P/JKq3O+Z1jTTQfiHfMqhMyXVcSRcL4wRFbIWxNG6zeBSaV0l0erWiuUtq2u1KMQkaLCMfb9zHuHUhXi+J3o9HvTd5qVdHCpS4JAPL6o3Yz7ky9OACLjY34sR4qmKQL6d0pWrWaXsgqYVz9fGjvQ5/pYGxYBs6L9wgQuxBI70m40cTKzA5ie6U0wA7XLcmuIkYO0x+3wAGxf6WFCeRUteEK9yXrZP90d18e7R5kDxV7+i8m6Hz/8mCBAGPxiD+FvHLBLaLbKBNlyxol8D27TsCWSYEwRAJxcHPAUfP+NbJLaTy2BQlcKuh1nroqWuuF7YGksEsKGrzgbUmMyuR3ti0g7KuTDGVC4DGYXEMphwh9KxGkGTrkyohGqjWLoBS0wzmCExBc3vjpFX3+ZnyTgl27jY3oYRdsOcyyLnJ4ZvscRutHW/VCMt2J0lEtG7IQycKtCdAluW66Ij/Xdt7LNGu2X7c456261szlBzLd5HPK43OJRcJ5+87e6FQCydd/dGPokjjq8BgC0KdrD4EMD62bzFdkXVTukmuin0vJTBmUVg2i9BfyWBZBwfdYk/w27Ic9ira9fdJho6XCihDa/MAfxd65aBkWGQ7GqSEZU+mdxLDGdOKat3SPVKrz3mSWLUS8P7RiDultym1ReFYxkdqTvJkJoOY59Gu9Dtv0EkgwITPcUrqgfpY8NB0zP+YZGmvnVuXn3O3myzZL4vuGzcUY1Q2nPz9FhPCxzQQbKeBZ1TYAik5Yw4ucXk7AIa+hhqwQgt1aT6iCwYBFffMP/QEGYfzMudR5vaFsWey4jcTXMXpZ6At9Hjz8J3/330kWzUjGCIu4Am4ymkDbfNitKGaQiuSXBwgnXENV0UN/odgPTYWtb7EXubd4JsJo+oISk19I66bPUWf7aSfEqGbt+MIYZ3cZn/s6j5EpVtEuMeweDdxeu8qbFUume6KXMbjyxgqwwMZfUI3XoiNeQSfE2t8Vi7Q8nJNwXO0ltjIOVu9E+yt1sL8E5GmQj2X05hYI5nqonGrV8aA6W5VuFOzxoBV/u+EjxJpt3hjflmvIMPbjluzQitOImxZiZYb8bycf5Z8Im+kDMjNa+KT62DGmhubbPQM4UpV4fBlN9lt183Jbo/lzQ5vjGwBRG0aDPMH2ZgBIJFNgZFlxIoljAAksBDwBsh2ZfCrHT2DZpgotZEyRxXd7YX1O/kYUJb/0eQMECsx+93aMcjUMCI50ek+Yopj2eoHyb7SKRUi6HGXvg3DQvOak9JgxPmONYb6WlPkuvdcw+YWjyLZ3aTXNka0X3tlgVGvAcSiASgoQpBd2ZGtVlTxhfSbukRzI7SYu9wzJIfKOgzl2AFJT5HR3FOjMq9d37sAUb5QBm0GlNGL0U2rcfjG0JUltJtZ0h1y6PpkibGvNFkITWV0j4cXCukfR+onLaHmzZA4x71XtvtetIp+2ZblFEZJBh6xHKnsJ94h55JkLBroK7/oTcsbq7V3WZDKPJJUo6u8CxfbxDBj6ootCW3fT3bcAwg2OaeCne6sZ7lr16QUlbqwnpO8NVauXj3iacY7pFm1sHlkUkdUOutqzRy5k6OXzLS+7/rkPak2TNm6iJ8st96HLbMSbhO1nOoQr1UemqxmamTgsf66dOTrwHXwEvjHSvPQcePH4kGtVcQiLFfew1HwD9tiLxT8WBf5tzqDwl2k2X/+d1Ej90MOJeO9ZBHUfmgkG+ZDug+aLX1gLNWaEDMIoVTDKwuR+EBjEJ6dIr9h9Tqp5OCTm2O4gI6oNHhQud3hE+7pEKU1J2FQ2x4/g1+gUP22eUNcWKtv6Oxp7Eih2mZMtq331328EY2HLKjCEvk8vUpipGN+j0A922DD6BkffOSOWfBEvZ5w3NypWy+tClwArXb+UkEaXuBHIh8Z5E+n79lLCb1KK2GlUOGu9qFmmUdWQOhhitgX/evcCypONDcEAjmRjGR0UO4ojblrxF61QC98WP2llnzg/chh+V18EMJuKJxaq3g6Fd+g+BmdzmvUYql18EFlYGkmwqWwo+lmiCEITCr9gsWM/g1/TTWI5Y1nWYHVvMAyqV2e97TG/MEGMcitWpunRH4HEQsPxwZceBD1FbB8B/bjgknbW7V/MLxIlAJNc3SLVYohhhLdwcSKkshqYX60pVN1z7i6s8tBFLHjtcn3ksLn5BXpFGkTZw0thRyQC+i0Srs5TFzrfyOrO6yiuAn5WK73OSaF9+Ifgbil6iDy+Eh5F3GU51QHrqsT+XlhuEDeRAu9YkFvbnRouOn6aLStCu0Fe90itViCFdGnETyfXJuysIkAZWvnPI5QZkVmVDv/MHTj35uDpbpcWf22pWKT76G4iFjQuTilgVS5KXrsLCoEcn+vAzK+ZrjTRPYLrsDbNBVHB5z/zrmIBIkM81WwchE/bqnu6YgJiXURQMmPnkTK+PTMztiV6DHbloXTUXSWdw+H6zntyxFj/n3fLR9KDk8rQdJk2XxDkBdwL5sFkK1wMuYTDBpfuEY9vES6rcREH2QYy8pVvT2HTS13Pn2M4knraLR5gQVBABP2c/HJyGlOH7EF2I1/78r2/5PEigpLYHZ5LtbfoQLjokdvaNU3JoKtWt4OEOk4Hl8tJnHRtWVWPD2PCQDzQtQ5A5yYDA5ocAIVwWKQnxRoO68SL8ew/7VyZAXfNQEW6eaE1gCTBGn+yjeCLjmPJCjdD9YDaB3D80JQGqhMfIhEU6tsfido9/MENqF2nL0SLlsDUaX3PcERwPYBXkSie5nqbVKEwPZPXr1BHBVrMzqPrze4ih+snxtOO4dSafPSNPMywNP1nLi8gjxQKsLcjgUqrknd2KkuR9umoVcK9SNmDsPMyuc24YNuA/sHCLwrhLXlm++Dm1AaYRSkWoJSLmXen2S1JBKrPbQdMNJVlVtxfb0iBVaTJvddfnpz6m4v+/CS/4IFBehb2cVmViSz2NOoY6e19wJGhVEU7EFATGJJMUmb15cQQ06ZuCsgMwo6jlu0AeWI2+bbtUpQLqHJzHNnp/HM4MVxW8byfhTbBba0wFsFsCtCypWDxMRn0MG8dW1DDZL2F3wQQQg8mUOYLScphicdxPpC+w0SqNzipUoUFmmsea43RzwU13GloBIRhaLabAu2Fxg1XMrhkHC9xF4PDLamyCFK/Wt3ImzJvJFgiR5s+vuG9uAZG9aX6TqFeM4Xnj8ZRKQE/O0Q7+b7RTc2mcIzRpI817ALZvBV9dMcac+8pKO/nGH2ukx7swklIYGA1rpUdO25WzvhoP/EU2BZv6fyRYNlTjSo6QKUnivZSoz4h8skhrq3XifkRnWh/KscF4UX//c2HGrFfTY4PI1Vwwck/ytMr9FppLgu6MEkpJMcmLCLMdx5W2JWN4bn9LAMwgwnZB7OBZNQvpYb5xPhHhQoSGKUZxDscmUkRjwRZx3wnIZnYnuLWzGhbgFeJlDUULlqqgRnG89k+aR9kFSMpR/QTbGbMCKntCJ0Da6px2VsJSyFQe08MOID5JnWfVBEhHSZ64P1itr95hpvxEpJnkCm1y+OeY0JzI+Hx4HqDx1eBPWuy35wMpEOLj1QzmusNxhEgdtdQhLdvMfjz3LODWS65p/2+qBuOZqdVHPs4tU33iEUO3j2BeAOB5l2Gs0CzXoWNkVHfhmntUr2wB5QdOIHkBWQBK+p5p7GWBLcuOssoo3fpCOAsinRufUB5WK1ouA7YML/uA9wPOUkbR6QaDtqsrboxh0tPrRbkZDezJbiG+liDO1B89iy0Nw9JFpAJrxSY+5VGBdTlUEhtwQQi2TI3NC/o7xg9XHgzrfDBRgLWnMaZVXZq961qin4CgjNMf8IGymjM8dyc/vnrm8kWE9M+rHO1AVFdrO2H52SFz3Xxw58lAwVfzoGHJ8l10srgf4kIiu/uV8o6VNEUI81fcvMmNsVndFBk3Gp00nkPazg6nb52uD4Y/qLMHcYLQfBa3E/zxVLC7ZMKCRi4uQaLld+mlePs7v6zPdHDCinYMXYj9UgMyElsNwoXlghq0OFh+lqomAs3ZNDTbEkwMbWwo4sPPx/XwJmquET7fBBKJqiDUKYYr1GKpxVytNsZzAYR8QkNIlKWqp5+jPOq5G6aBLJreI2l35ikSC48Rn0nLah9PxfIfpp/l96daUOhgBe+pjImzo2QRYK2HVgEd/hqdc5Yyjs4gIssaca9fvRHndUwpL3/sbCIRzRwnkR5vBcuqi2pwpxu6EXUZSQdYOP2wx4TfEjQgDd9qsdZJXuNOFGdpb2RjxRnjMtSqAWtXMVGUhsZ56WPZgRT3GhAgaIMGSACNie//T2kox1xfsikKRgsv9dmAjOw/8JpbKsHwvz75c+oUiUPgltnz7ILOfbBQDAW/hH1mdpcYTQeFmSBZZmhx2+xkbFHVUUCRwbWPAgdx3AXrxbzN9SSKihUrk5yyvgwYG6V0esc3nYforb0RxJWOa5zZsHQg5WaFcU9kPUfURAYhQi6m/pWianaZCpkSMdpzccw9yaHKg7p5LtYxrAeifb8HcVDuOV/Q5gLDN2FoKiqIuR1Lyh4ZqX+Ke9/h6OFoXBlLe9ozsq6QxqXoMZTi03DDIPywhnaxqN+bWJ+AIj0Jt0Ln0HkCD0pjMLHGk7jyPuuYgZMA+9VRRovVOKSQvYzltFy3FbPZx1lXw+on1Vp7A9vgtRXxuiKHne8IgH8FQBnz9sDObEGPIPcSsWWqL0VBQay2drp/IlmAXdqwGAx77MkSpeJX4r+iaxB8PBGm0YeEGfHGDuRIjRXOcwigcQWHRExHuF3pc0qHhf3GpTr2P+pRUV4APzcoyvkT3fkEHuuv29r9bwnd4lvM3FP/FzW2qpBFdAJaEx3KfSoD3pJIbJUubJojH6BZBq4qruXKiKCAofbqqV6WSu0fgLSF5fNIZxKDnYHHUDMto1K8HytsoBRGjWCAWE93d9FCVnc1N4ERen6zaMPDVuBuxo7Ipue3VCiWh90Dkdh7HbY0+FgAL8XbGfrtNyiXOaBluhE47VG7iN9LrHxSFG1k0DsfUfup8ESdBxoCm+Hqh/jOQ5PXwjnJhFcO2dxAQnKeJp5VCGwUXDX6N4a20CouZKa6gjlyqZCX7rojzfItRZ0/zUnkqki2fdOk4aGqtv3NApUH+1HwMWnl2k/eHwfbZi3igHNuRFS/c395nOehS/Jf4qQ0hvuwIArcm4c82hnXMdl0xmvGp7sYIeRiH2qOeC2Y2eXRGFyF5ly7a4vR0S9kkMYPZr1vK21exc+feAEYVvS8F3FdZpOpgIUXoU8V4uPVKQwTacu8Zy0GVj8EpHtbd8OGCvqfiVB+57QpHvCDAwzHoyZCPQQUMkB6o3wof7hngmbE3s5H+sKC+ySy6RIGcQrXqwLJfv6EWaWiC4I4A+swZuX56kjUaUGCu6UjFthqCX5gwY3JBxSUFlGi5h+qUVBJOyf4kIYx1cvP6vLbaw/ET5+VjksanSxKzFbhuF4xUEkKJP23phpQ2nsClNCZMq8k5GCYE4bKIVgRNa2iHuqs9sk0tsF5A6F1xxOA3GVau14PTzp+w0QjDpdb3MiCDQhptk/FDGEnvknCyRLzDwMhXmk15sD8QZRxxzZ6WXjP9K1Ku8gZtiDJSNs8KBP0mWQBgCb9j55fgynDoahrZAZqwS/Zq0osLOUlkXGU17oQ++H0cEJVLy4gOATXm8J5tlLZqKb1/OEv21mNyjXlnbI/Xd0GBzTpmxX6rRQtT+EF+DMoczXA3GU+Pi5UYuUJcefuxWncIQPBBKAjbpGHawIvROqF785AiKPVYyeT5eiGpP83M4djzJUtAA8Ju7OIVLVML+kFyhJEkDosKwWgyBkSNKqYOx/8HdYXu6puH6YllrkCFPVQIgFIuptzrPiyAuMps23ttO2bRyk/HTWO0FpreCLaCpetl47QXHxsM55NtLw90DUGvJD7TgYrEhshx+nQx2wmwgq6bR/BqY1H939Tyi2UYu6ywnDjh00r5prAvMGIkFx8s6Vsv3T0p7LnYTvKT+aem2GaNJVXm/+ImWWtBurYK7yo3FrD00ODv1+vZGKgePMqzZj2kMLSdwbgWvp1keoB03KPDNPSWMZf6P5cNKPl5ghCjpbpa28fB0/VMLGxYaNoiwBV8I59mDFma/9xFTSKF7GluzeRdVTvdjjMRzFSS757s+9J5PCzsLfix97nyNTxh0sJn+r6+z4VMY5d93vazXNQ59hzhr2YUKJjoBHttPZmwVl+RWxRG6iuZuh5xYHZTT8p5fUr0HXex45naNpRW8xOn/MR0fJ4AYcMCN2QncUjm8zq/uOho+qDAZxh9QumHjN3g3tTapSyomaTi1ITenxMXcPMsM5kLXSFGiaBq7I+VBVr4dS/a5MVF241JXHavjssYHH0zaevqKvK0YsbuWZdcPGuC9qS0jQQPkBkV3DInEHNUTEm/3GPCRzJ+tX/FfS1bNxTiJkFU7hCXSKC5W588DVgg8CZHBCM3ZU78MP9JFOQBsraEMfXiJZHFkgecRVahYn0QGuODGCDaPsKFXwMupJaMlHMeJBNSCGvqfo5e3mYdctmOqP0mtadwYgmouksZ2FmZIxlTQRKQ1xJjUJchLAmIjR6q1nL4sfmJhROlBBKudYrbeFL//VeZLXWXuSyb3Pe87vgBh2YeQy00yxkWaTya0crY7KGucUvXeQNGS8QU7kjVKUq3TrfzlQPrODgvJB+F0vvhLfn/DdH8aDnHShx5pUFCWxb9QA/FcgXYuuAs8Um/WBlTyQr7qiAETaW+dFD4Usgx/p9rwgW2dlFtYTUZBZvRcI7kVxwwF0c/LVdwBHiXy+GBcfGUDbDNOyfzmpxod3BjTvTzO2VAzkleDkHE4rrXFAm2LmDSgZQXkc9HVyBXCL2KGdRbU2+V/UK1PmdTj2o2NtsgDSJ/fZVmSbq9VGzrHGQHN1/BQaT/kCzJwQFUDlSp+KFpW4fOMnLQpTvMUaJizHmApXFkjTsqxieiJlERRNGOWEJ9wAur0J5rpoTlr7n3bjt4qaheaRUWijsN7CAJXiV98sGnIBMxYJerJGx7C2a/GULAn6AaQfuxBhmddy+tO9NRfDJpEnX0duAEBPNHt60O2Ki8jBRKomSniaF0C+pNGF2QAT2qjiE4ZKw4fkHCkN8aLAqiP3SEkhdqCWORZW/WsnpP15/xogcQeUWc614QbGqzBFj42seq9hx3mywOOfIr7SALXEOElpIoe+eL1uC5KeAEAKGYvSvCyuH5YXRPdGhC1MKb8RacJ6NdB9nIHfd587x86ZRpbMYdOF87QUSWd9HT6ocf8mLSmIy/b+QR3SRsT3B0yzQeuDmrvzoofXwfSStCanGGM5HY2ByNo9DKaXsabGd//IiSm4+mHy0prw/x0mRr0qLct4kcIdMWssw16IWyoSxPQHN0hzU3OSAUlM30Ybm7rZ5ZQRegXd2/qnv6cb0+qMLtnlgeNofGb43fJ+KfyfmTT24JyT6DA8mvt8I5zJRll7WVpzo6ujYSNgLQKQP0/jBCO1dbmhFmIXN2RRtiyi5LyHia3hZomBT7QoDMOEL+l+P25c9HR7DE5lmhFhlghBAac0Lf8PZsid81du5bwjniNpl/lEmroT5zghzdHLbUjqRQglEQ+l2OxrFsO0LGtvvhDPhAITmnsSCxSnmHUCzxtiqspL/nQAMdAsS4BMeorWu+bGHMIzaCQZrcHJTK+qMx1/M13Qf4WY4lNtKOW3EjvhpY1V2f3uITaGJuHRJckQeEgAJElUS1oobl29iaM3ULjpO2QhA+6a2mpXCfW1YNxaDw0jY6iqRstAU9ldDjPz80DVS4TnOofhjVRNueti+/PsAFkuvKsu5FZ4bHfKfIfvYf0QeBknrvc1+Z5C9O8OPRVJyrWvUE7L/bHS/XMIgwg07Kaoi2ylk5hEVm2/vBiwVZ1VfXyB3rIYuQK4zSLQAQgR2udLirCLVSgk9vmcYqd5KzGfVs6hxkIi8W90a77BhTla7JMwdMaQlM4Kgynl/XSWfWgXek6qx0gt4pHdi+xz2qp32KlaBChTC3lIi30QEEQxqKpi4fxBZA05xM3IL075tbTtLMri79Luv+ciEOixdgQM8dH+QvuXB8iAkZfe5NmRB0P6jLNhoAt3Dp8zMf0plLbA7gSYr0BDDw9MHwFMaK982ezh/+sM6aAn9F/2n/H/lZ+3hPw+kXy1hDdZNteRdYpLDU1u12Lnx8huVp/VZPmc6xmwOJrRReuDhSSabXHZG2313KizGgf6yHP9ChYAX4o6BVBf69MXwDB9DPOQxgMCFgJa74pRaQgzDlB30V0OgbPqZal9O6vgpnR38+W99VDArpePunX+BRvIaYjPEHYhFotsPI9LOEIzFwicqeWkHaW1/S4dBV70T0OktCLJz0yEWVh5eJ4qyuoJQEV/z5MQycJz37cAbjFQW1clVgSAA32yEUFpBC8GHp5UL+G6EEQDK1SlzPsWZYsPTpQclOKPW308iFBDIm5LMWZ1QAoBc3V7xiOkRSChcnbqruXJ6EyeNhtCCIJEr/wIXlhEhlQpAD0GsfGpGlGf2WcGGQytG+zK9u0AtvvVcSCLRSgBTGzM31WjJ586gZCX1R7rr5ismKcYBiAlUe0DSPphiP2OUYFCYy9+mGLgS1gjE2ZSFLYR9uW7m3m/sI48BA3u9duSHUS8ySpZCgkrouWERKkZwKigtuEXI9qXLq3G9RbjF6xvTxmefCHo8yZzdADmcMQyZ6DMnhn01uoRZ8vjVgL4IqxoqDasnog+72m/nk4vh0oEsJf79N9koqwlMDQ9DdjoxMZs08X2uqak+h7BK9c0kRLN3sraxB9Jw/4B1pqNL3/p8g6qqU3d1/QhGAGHURLIZcRHX/wO+iRPIVbbCqT00CiFTPRi/M8d3MbMuBcKVfnE3tmsLKV4Cvr7n/ULZWRvhn4pqfTqd+GqXGiH11oHNNKhRlj9vIAfgOFrRtCX3JXylXF4IN1+Sqawl5KpCGlXRd3MW0QZWnSpcyVNo0a5LJA+PyJms/wIWf6E6s3ehBTbBWfJ8k9hwW7ed/xQFkq6VRilt0r5oJMgU+U2Y+WtolgzwWua0y80b2Na3Y+/9ZkEu72BwkE4HVcTi8KGOW9atJBeScVvXtHXYren0rscYEYkhvlk2zaIKU4pIQPh3XnP2Ce3cbcKts9nUmsgpmwv2nHpoantc8EiYjBpBHw2CH8IY5TLrVPr1ZE7Dp6h3Wj1tRFp32kjyZVShotJhOYbKfJqn/gmMXir3SpLkpBhIRzur0ayTxwKqoScl+eovzgtUXzuRIlrtIUSxDMhgZqKI218mYseIipjpckzicsvdt8CGtNCIxkwiS7Aw45xJXiMYULAhj6ZC/k7u54ojDl6K4L1czv7Hso+i+EVf1V0nmDkdaGb5n+ZBP/KRKayBz2dUndneybVI55xRynmMYwlp9fhaJGH51wKA+8L76CzT4GL17hETtKZO4QLOc1anV05ljaIIOJFXQm3UnJVr8u5U2l8eJfS+sm0+Vsp+px4wnJ3X3bno56USoxbdNVJuuitfgVUBxbiXJa2G0FI/lQfSO6HvH4sdK6SEQDpnLjDc5sokY/lu4AvXUdvtxZO3JUMcd4+G7TIDIw9Dj++DurxS8L92uhPjn0zFxJ89mffknio/0mM9EW9jRTmYU+nF2WXhbC0agPFR7J/8m43BoLDZfElhZyjPIMzRoo6USJpE1CJ2z90ftVPc/J7/aq7xnKLFyKsAhK1evoIJYipq4rMVtHld+57GsxWgM4hMh6MskM5JKvA9ypRbr65NE5v9hsh376oG75TJcnnpjxYsrxfhucI7AMdDPW2DaCfQlGNF9YZ8hX3GqbK4bya+IKZrz8p7B1nki6IthbA7/8hRCGwS54aeoxiMM9KJCJkJkbH+xx6amARZ4WjnNYWPN6z/BtP6VW9MdHa9nPxADAwNW9PPWwVF462ZtKBribDJbneeEIG4KjnkdHHY9B/tNjSEwnoBTOsX7qbp4llGQWxJZh5aKJEOHpO7EsbLXtyrXWGWjKatTgzP2WivMJTf2n7HRNCf1K5zqw/pRuG6DYlbLZZ5ZEIUQjBb6p8zIgP+rFuC8Oq33rnknwoK8IbmnLIut2fLsV0D7nBnHJmrPGmv8qf93mJ+2m1jVs2Pfhiy3XGSNrsfv3j3sHSGra4uAdDT5kn/zfarcSHDc6vYKs9lwY6qqOshkyfKnedzCXeKHCCUGAIiwO1LftV7mn8ktOim7dlfyLqSdXXnya38ZJVPA6y3YVzmA7TsXjvtlQxVdmeA4DvGK30fZ6aMIULvVTwfnXSOXrr38u/kARtS9+8TACADC/wyWkoXNQ4BOZViXJBeNqy4MFiDJker+eHw7O7dsYlL+Dmm2kA0CF8sHwrrqFMgfud2DFJJ4BgDkfI0X6F/VwdB7mD3Ls1X0awmoS+BRPBX8NfzEBSAGwinaE12WULTRHuKVzs6apZcIj9PNmQb9giPljWYcTafyPyWLuWBrl+xWZpxSAip0iNlqQloH44/m22p9OJzYic+wYz/Y8xteLWNlsP5nx5NnGroX2CKAUVG1Y5dfSm/U6VSkScEtvAurKxrk56amtRMAgBnAj5TA1KM/NglOWWOjU6aFSIR6VK5DjfQ6yPx5VnGgXC22tYBxfd8RzlOezYL0urSb0IgZWRys1vdgaVmquHCdVuvJJBarWCQOK3zZGY3fMpxpZl2OHAD+DVqKhp0srFCU39X8HAAPBorY+f+ZV71Q4EJUyxSX+d+cr7fNXGMJM7YZZKdADN9XvkHjJ8Xsp6OhrOvsKXxPXZHpYfd6uD/QCM3udj7G+Re+Ch8QSrXK3g4m0bJil7/qOf1RwPC4FpoGCVopTYsGGYAVWsX2/4LB8lgwFROUKNL/Oi1mXMyY+P85znT5Z0I7eWk8Sp9u7St8UzwB9jqSbbeaO+6+4Be4UE4bna6C1qtlmduEncaEsaRkE/gswuPCAxCLrj3dzKSfRi8jbjW35ocK0qrGhkBetf7ulr8dSeJLZE161AeUT23i/yeJe1VLVjf3LaZQ/61DBoDW8JDc7g7zyWFHNn3+2nI1HGp/QaFyY36273T5FvMHxkhwJSY+zBscs2T9euoNQj6+AjsOy13Hdz9jjEj+RqP5mscwsWP3xEG8e30Plbe5ZgFGO+l5k/marc+k1wphbuRxnYIV1GPu+n78w4NU3OzGJ4uOR2i54GnlKmbAHeS6FtXml/t2H50jxLUS1O2nL1mUj73uyVUDOeEkcEotg7PwETbWl4m9lcQnXszJRlDnU8o7YqHlVQdUGn2jtfYNeLDVU+8RqJ2ZLCYc0ptKuLhCqPDqYfiAfrtMkJKlaVnKKUvPd5C7mbp/skp0eI/a2WlV61tloamvACL7qpF9RzWw4Yf1i0J1e+tQLY2cRm7P/a60kiiqhZtO/pjJgkWA4K0trs99efr1kuv6Tw22VxcIFmaWaCGC5JKWOWLNfbHP+n0pRABuiIuHNKGrREqR7Dx6eeQ1dMOC3sXhOoGEkLKfmPmAk8yKLA/H2lPbBIk7SFeRWPHAb7JwxnNPyDtf3pyoii5yW91Z/wXcLo2ipuyAVaanH7khOu+0tO5BdEpNHktiBEE10BL8IKr4j88lIcUAptKNdaDFY4G/CM2D4UEV6hTrkR5az32c3FpFj+5BeN+XbLjLt0wDk53DZsRDHovk2pXVUoKanbDtQ2WO3n4FhUhV1LkXQc2ofb5U8GvEyq4zg7/xx9XZyqYiWWS27ZonDbR+nC02cT3L/J/8iqpVFzQL3Jg2VsxfNrtjTPqXsKVtpAPTdZrgD8lkYWu065DXgSs+W2nquEswombHmpdvRJNEJ1o0b06mCjUwQGTxHDdKtsXewR4MHUoV55d5z2lVUtYmI8pg0NpAOWOVksJTI+aYec7/WiIPMG624dHmXz6RW0g58MzWoXV3Gq44EIt/CXug+5nYxnFQ20su/EJmGXixfnPdunYzCI0trPwebmkAjyNAeWYlhcciJhpbXDqm1LffsdYeQwZA8B0pmtOs4Oh7GPDzWSuiDkV9mBjmgfriCCG9uLjbK3HA4ZyUnZ0BWv+iBQCcMCbt4UB6OF3buU/Xvo0fLFUyCQekks8IBd4dnIP1NcXV2IME8NG2wvGQFU3KE6vq1nDOZggdO5z8gfRZDXwOQowZWTQVQNAWjXBWCRdPudKuqRYUe2IgYDNBD/GD/Hsex7fMaKNAMr0LCIsNMLx+iB3/sWzEqSJjmxsuuPMH5e2LZRfho8y2IUWGr7hBI7n2ThCc3czUT+axZnc66kDaUjXX4XN/3kVK+DPsPqB+HyS+zA17jNdrilyIElmlo3gnnm1jTDOam8Zc0bpgg/vrLlW3p5o6xiju3k1+cF5zubNyuhtAQ1tsPTPQUrB7Mg5Sfryz+LMo+Dp+QyG6tqrrxdkt85TG1xt6arI4VDZ1EemjTWezLO2BnZaAIaAJ+4A0RN161WMvtVtOi5HdJ5e0pZ0mA+DekkzAcfL8yZkhHPIFkanyi3+R0D3wfQtFRvLGB2ubv3U7IOE/Hn30KVEsGeTFVwvrfj8HWtYq1sv9wi6DwccfrOwy5DEq8EZbMy0wcQ2LcyTqtFLls/e8c0ldCm7mkHSOhw2ExnA/lUGoomyd5PbDrqFaP5eAPJSjZeI0VP+JQC8aMBPnsweypJpmpgeEA5BPM3KaeuJlAW42EqyM2LQvu/lK860WFJOIN/vZozLOqqLDNmzDOJ+FlNd82um7qiDyHtQcIEtd/EPrHEmcSu59l3l3+bZw73Ued9RDB0Xr9UxUu/tsNLIJwGOv1XpxVYJMXUzEo8KGgRy6z/v1sDhHjimT/SbODpMP2hma7rcqFUuBrY1LPF66XP7k1uPczb1mwb3PBHZnCLbwD4wRHS2LiYqZWDLnot3fxw9XGmSFdmQVvNu9lgQB3ipNYktpImCBe1VCm4bel/NmjpGq15lSCV+5P9tnmaw/Qf4uWp9qQPD1MwhundXYyb1b0ZuXTPSImG/bTdeGnyRInlO3gUFAH7AOchbI7zJeAcfbYLFZ+s0FlUy7F89+T5XF26pbTDLxizKKJJ2HfiuIEY8hgemgn16e+GgVeBgLkz7HZt4bdonYRZZwshDrWxn1PrlMocUzuTjOBZInMcRst4CAvQTRV+2fJ8LIqRmY+wUl4YPiCbrhZ6m8Mi1C5YGkqMiNcgs3s4GgUM32WP3DmNAF88uASBRC0o5ce4Bzqn1WLb3bTlbjoaq1+fiHnr5J7ltfVfK+oDhS5ACmYzqf84GCUPjk6XoMiOrgBIwVpElYmIzCxgbZpvqgLFMz6V14VA86qURO64e7ZvVcVcVstkXQjC587zfw2BoXRLbC4TulgmPCohXcR+4ktoocJyUS2NdP70/yRmRulDwFnO6BuUJ3Jv+6mwls6DkKpIWOYqTJWtr2/fzg3IDVK5SnvYdOB1HE/1l0DGH7RZx6D+ITcyT2VmZmXhdxR8KkpZ6E4g84mQs9f3pbKWcufj/slS4s8KBirPmRbyF0sa1AROTLE4OOFWwGzKPK6SgueTFsIx1UnBCxvqr0gByLoppOpXm7c29PDrh28dWRjeBJKenQUpeLduBxAtKB8dRqCkzBkmp4MYCLtFzDiqTGAmJLh+vNcIACSshWNP5CZFgV8BCzpFIabr+Xnyia32zC5GYG6ya2QB2McMFvzDN9caMXtr4ePhpfuF4XesXXv0ua/qiEhtNlok4kt445FkKHlxnv+b0jvdWt/rquOM5UiiJfqj1VQPNoTGscmS9Tu8GkOrE0ydXl728fA9fkAHcYqsLDw5ibwgk8Fceb94OLIaSyqGHkRlOXMydc9hOLSl4y7PiSe+ZBda+H7enrNKIAkKRFr7Zj6M3x9KrnEL8dcF7fDR1Ibe98uyh60KaaT6anZIKMAfV9UyqFK+LXg8R1nEbHpt5YvJbuzuvWA1y//yqzeTSuYj+jHUS1U1+Golpn9lAcgC9xW4qKH5DRuU1t06tVcY0dyzzGUPXrsaU2ni51VjBRp1f2VfrXVn1LzLXu4J1hYlr4W3Y96VmC/ipHOTefUHAW70z5XQAmRv8i6IzG/IglYtkvBVdrHoxYZjl3RR+GxtTtLJdF9KdkopO5MynOSiiVLVMQFg9T4TuBFLzAJn9qDOGpgKjdixbULjlrJ8WNJLnHEN4QwLBfHfFB2fSMiRgpu4aoL4x/CgxsxALF0UUTxxfzaWfIcwe+l6b+T8r/lO37hHoSnAwQC4vhYCKuu04r2yRu8iyDoIqgOYYj7Oz0GX5JbaHezRhLbzyXfrMCve4mtHjecNI+FxbU9d7hWO3wf9oGfVEZEaSxICC7W+zaoELV7v25g+wMKJQKhavoNw3gt7jTIYl3IMi5+lrYxFJXJgzZtNFR/KgRbNTFxJwAt0exWbq+ArsO6xuz604cld6qbRbTVSPMjgaIbUOXRqUIcfNdYq0qENdcVl0F6KoYCHL0xSb/5KX4mMxqSZTX6scmxnY5tLU15G99Zh4TJXguL4K1nsf6Ox76RTDGO5Mr7dTOWVlBhGHI0eSGmzf43e7YLV4AHQXtJlBNL4ithOpfgNNUcpX3MWt2QxWYEuY48DZ9PiY2xvjG6OyBOQXRCYOsBb2FQKQTfJpNLJwHDojAqOe9rhjtq0VF7k7WP9y3P1nnBDFUPpWWKZxuxidVZe+9JUiJ8tgwFIjUJarGb1/iLaokbrywBmaoYMzPB6bcefldLSmJNARW9UDHnOLWqKdInjqrwJJUuR9h4q9pUqiwoYQeczbkl3PiGzIbnoiwBCaJcyT0cjuSpStor7plyN4UYub7cKFZnb9LvDpJ8UxzpaEtTtxxo+wVum576H3woEeSPMWkq3jzC44s6OIq5/zMUVPY7Xxj8uuyAH99DGaztIC3vGbT7w5iCZc4hn6QRgK02Yte1WxqwkKHZd5u7n6Vk5pPCWOUPgWDzrafT9ypqfBXAp4Yb0VBk/soKV/tHUyMRgj8tTVecedwqx+/Obd1lmZ3llbFiHqEbpuXWaFdLa1GPWCb9+hHGLNiFd8sBOqJNNBQ5WMNWCJsrsYfbHma/wFyr4GbM7IQWD/QeVfaQnLoiqyWu0K+I2IE63W1HyQmHzGrlpEHQS0q6qrOrCoFz1dQFI0rBPUEz0e4aK3+vfb26CCPfu7JNIN/Vpy9RvmN9jpy76Rf+6XlcO2RX5GIQjUiwAXzs02fpvKrRIruNk5TWulM4sIcqe7dFtciy2mIsZrPWFYC+wERFASvB8sqGssX3j4rgBpOMOSHG/9wGHcy9TfXDiS9x2aT1vMWiXCh4uxMfsYTSUO/EXiMkCe6zy8p3Jj/Ngd1dDKqmABGgwna6TzM0C50twqSnVhiFCG3ZK9Cpgus++Qbuly7yYp7f14FEn9bl8SIcpwxwzg692JDSXntLc8gGqmiL2qZrbBVXM64qPoSOfOxbag1NYsIvna7EIgj0awJpW6/ONWnjbgqROFYFec9Ky5MWaOp6Qj5Dq2tXqWadCxoeIP2x69J5LVjYv3WY2FoQOhHbGvyx9ZcTTBQbGHVx7W9rrsowVoidMROvB1abWoGNNOA/FPmSSP/U/2XzIHC8M1tAhI9h+MHOIanay7PfkxP6WSc2XmOC6UpAK/lKmFwJQIsmClp+38VZ/DJdG/INaKV6GrK5KAT4RVSttgjYzIBKJjlcKd9kpOllnOtcnnLjOzEkxJWLFMZV3edplSqbp1kCHHJYhevxp16ZhyWOv+3dJzhnhFQJEp9NqrW/hHLC3BFpNE4wjhgtEY5MoWCOsvQiCBxU8xLGgGNXAGgB4zdTl07+Pp5kQzShWXSIz2BPXAEDSy7LkRXATCJCJSwog4G/JGfTB53TyB2xWk05uTw4G6DBxwMLygXurqWKUdw1JALFqj8PcQ2PtQprQs6PRE82oCiKEdhHqOZptxMIZx3Mu/h6ho6GrJA2geVb/wmHX13EE46wrHS+wInH2F6dEqljdebMepMICjzvRuhZnUJ+ogefDmLC3x8NIbW5QhCdr/0olDoQsbSvIhXAoson0DDesgNVNeLl9SlZg6SACU9JryMrbUCV5mcboUU1ADWq9GOOPvpQLljhjY2kkSJInxs67vkUUyX51vOyvyletyF0Fcr/54Ul++/J2FssrYWiQojkKC6caeFlgY1do8nUg+a5ZIqnD2BwWvphz35zVSgRzRW4K/OtFgbdkSBHRA9oVlDgsgI/7IevM+UnhIXWP4u63DblBfpNaJOFah3S8oNXZMFNOc3u6ArHRkppAs4RVr/l+SZ7qSFfc3d7reESHK0C91fEe/8WL5uFyqVH9IHuCSr5v3vSlFy8KGGb+/WMEMHCMjGxfFyb81Z2IJAiMXuX1+NMG8a5ty5Sb4E42XVE52LAZFPzSA1e6uzg7xCUczdaGJeHyU4I0RQ+8FWdQFqwyp69PC5klQeUxTY+0zQlWeITBzwDx1hIXD1QBNgVNJjKrUaqSZeK3uIEQbfZtcdgkVVDwLQzuFdPQPZRNYnkTnc0tUSS5i2dmlSRYfnMKBIXsTRn5XwJdCIyV1FyXZz+DoFFTUY+/yMAPPnJwmoKqByGwEBL6idjIbYcdTtRCjMNTMdcCFmTHVcoDhQ8yS+jNRs3bgShGyM2qKMkvMpIRaM3cawvs+Ma9bg+JP5/hWeT9Mq5kD8/OSpkrpBoUNdwDU6Y8gwXF+w8QvO3lRt3hMOKkEF1SRVkBscx+7LXEsPT2s/aDwY/CBwjjINhkVUxdK7PAlIOjjEdHcKtfbMSQMmdzyadLsAX2iEmMYCCK6RpkVvlChkYQdlWah4bDuHlPK4E7pkp/spqgt//oWIEtVutT/CVLnJLPFE8huYa91CSJIfBFyasGV7E/t2GCXt/D5xZnfifpYG6jKHTgrO0h6lSsOCc4bptKNmKe5dwmnsjkysM8nB3GWt7oY7zPK/3wBue++9a9M6cw6hLFa88ar6f0XB5vQCFg0yijx1JZ8KNMYIZQ2SE7NaojAO/2JIhRo6GgM0ZcrhHjD8oAzecZxeW60ISubC2VloqSSle9Ui6QE43yw6vngnUJNcFn1I4pR93RJl3AwT5sYGg0hp9Fh+vYp38VgS8QyGmipIOEbHVCIqjWo6+mNcfxifqJxu5NjAUmDiT55gcDUQEi7g3kuKr72yxOPkUaQJadzz9IRodeM+pGaU/dXinzEV/qSn3FBomEjpUmpRFnMSXpLEY="/>
  <p:tag name="MEKKOXMLTAGS" val="1"/>
  <p:tag name="MEKKOEXCEL1" val="C:\Users\david\Desktop\50Richest.xlsx"/>
  <p:tag name="MEKKOEXCEL2" val="zzMG_Chart1"/>
  <p:tag name="MEKKOEXCEL5" val="=PivotTable!$A$4:$D$53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417</TotalTime>
  <Words>147</Words>
  <Application>Microsoft Office PowerPoint</Application>
  <PresentationFormat>On-screen Show (4:3)</PresentationFormat>
  <Paragraphs>44</Paragraphs>
  <Slides>8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entury Gothic</vt:lpstr>
      <vt:lpstr>Gill Sans MT</vt:lpstr>
      <vt:lpstr>Clarity</vt:lpstr>
      <vt:lpstr>Using mekko graphics with excel</vt:lpstr>
      <vt:lpstr>Three Productivity Examples</vt:lpstr>
      <vt:lpstr>Apple Dashboard</vt:lpstr>
      <vt:lpstr>Apple Revenue Trend</vt:lpstr>
      <vt:lpstr>Apple Income Trend</vt:lpstr>
      <vt:lpstr>Pivot Table Example</vt:lpstr>
      <vt:lpstr>50 Wealthiest</vt:lpstr>
      <vt:lpstr>Resource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view of Mekko Graphics 7.5</dc:title>
  <dc:creator>Mekko Graphics</dc:creator>
  <cp:keywords>Strategy and Business Charts</cp:keywords>
  <cp:lastModifiedBy>David Goldstein</cp:lastModifiedBy>
  <cp:revision>912</cp:revision>
  <cp:lastPrinted>2016-05-23T17:00:54Z</cp:lastPrinted>
  <dcterms:created xsi:type="dcterms:W3CDTF">2013-11-13T19:00:18Z</dcterms:created>
  <dcterms:modified xsi:type="dcterms:W3CDTF">2016-05-24T16:58:04Z</dcterms:modified>
</cp:coreProperties>
</file>